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37" r:id="rId5"/>
    <p:sldMasterId id="2147483763" r:id="rId6"/>
    <p:sldMasterId id="2147483816" r:id="rId7"/>
    <p:sldMasterId id="2147483837" r:id="rId8"/>
  </p:sldMasterIdLst>
  <p:notesMasterIdLst>
    <p:notesMasterId r:id="rId25"/>
  </p:notesMasterIdLst>
  <p:sldIdLst>
    <p:sldId id="474" r:id="rId9"/>
    <p:sldId id="257167" r:id="rId10"/>
    <p:sldId id="257168" r:id="rId11"/>
    <p:sldId id="356" r:id="rId12"/>
    <p:sldId id="257169" r:id="rId13"/>
    <p:sldId id="257170" r:id="rId14"/>
    <p:sldId id="257173" r:id="rId15"/>
    <p:sldId id="257174" r:id="rId16"/>
    <p:sldId id="257171" r:id="rId17"/>
    <p:sldId id="257175" r:id="rId18"/>
    <p:sldId id="257172" r:id="rId19"/>
    <p:sldId id="257176" r:id="rId20"/>
    <p:sldId id="257177" r:id="rId21"/>
    <p:sldId id="257178" r:id="rId22"/>
    <p:sldId id="257179" r:id="rId23"/>
    <p:sldId id="257180" r:id="rId24"/>
  </p:sldIdLst>
  <p:sldSz cx="9144000" cy="5143500" type="screen16x9"/>
  <p:notesSz cx="6805613" cy="9944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6A7D9"/>
    <a:srgbClr val="F78E1D"/>
    <a:srgbClr val="FF7800"/>
    <a:srgbClr val="EF3124"/>
    <a:srgbClr val="E1261C"/>
    <a:srgbClr val="FF2929"/>
    <a:srgbClr val="F47920"/>
    <a:srgbClr val="E17800"/>
    <a:srgbClr val="FF6600"/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3202909-7016-475A-A7A0-1463A6E1B5CC}" v="2" dt="2021-03-09T12:44:33.0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34" d="100"/>
          <a:sy n="134" d="100"/>
        </p:scale>
        <p:origin x="115" y="581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khovski, Georg" userId="2b890f81-52a3-4bbc-b124-c2c97e4c390c" providerId="ADAL" clId="{63202909-7016-475A-A7A0-1463A6E1B5CC}"/>
    <pc:docChg chg="custSel delSld modSld sldOrd delMainMaster">
      <pc:chgData name="Markhovski, Georg" userId="2b890f81-52a3-4bbc-b124-c2c97e4c390c" providerId="ADAL" clId="{63202909-7016-475A-A7A0-1463A6E1B5CC}" dt="2021-03-09T12:52:30.200" v="21" actId="313"/>
      <pc:docMkLst>
        <pc:docMk/>
      </pc:docMkLst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3593264068" sldId="262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1610352987" sldId="269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1959878987" sldId="272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2044026201" sldId="276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1570444339" sldId="311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4278585622" sldId="317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4044803460" sldId="319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1224774849" sldId="320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1067710863" sldId="322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3040882996" sldId="343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1452963433" sldId="345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4156657255" sldId="347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540300713" sldId="348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3417891904" sldId="349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1815045105" sldId="350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3606839094" sldId="351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3927287927" sldId="352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276526891" sldId="353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1168445785" sldId="371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3764218917" sldId="375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412841963" sldId="376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3883436991" sldId="378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1587963323" sldId="442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1285785166" sldId="448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4058785132" sldId="468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318494143" sldId="472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2194815714" sldId="473"/>
        </pc:sldMkLst>
      </pc:sldChg>
      <pc:sldChg chg="addSp delSp modSp mod">
        <pc:chgData name="Markhovski, Georg" userId="2b890f81-52a3-4bbc-b124-c2c97e4c390c" providerId="ADAL" clId="{63202909-7016-475A-A7A0-1463A6E1B5CC}" dt="2021-03-09T12:43:04.422" v="13" actId="14100"/>
        <pc:sldMkLst>
          <pc:docMk/>
          <pc:sldMk cId="1713693970" sldId="474"/>
        </pc:sldMkLst>
        <pc:spChg chg="add mod">
          <ac:chgData name="Markhovski, Georg" userId="2b890f81-52a3-4bbc-b124-c2c97e4c390c" providerId="ADAL" clId="{63202909-7016-475A-A7A0-1463A6E1B5CC}" dt="2021-03-09T12:43:04.422" v="13" actId="14100"/>
          <ac:spMkLst>
            <pc:docMk/>
            <pc:sldMk cId="1713693970" sldId="474"/>
            <ac:spMk id="2" creationId="{A469CAC6-6EC6-45C3-9585-C66161742178}"/>
          </ac:spMkLst>
        </pc:spChg>
        <pc:spChg chg="del mod">
          <ac:chgData name="Markhovski, Georg" userId="2b890f81-52a3-4bbc-b124-c2c97e4c390c" providerId="ADAL" clId="{63202909-7016-475A-A7A0-1463A6E1B5CC}" dt="2021-03-09T12:42:53.436" v="10" actId="478"/>
          <ac:spMkLst>
            <pc:docMk/>
            <pc:sldMk cId="1713693970" sldId="474"/>
            <ac:spMk id="5" creationId="{51C9632D-2F70-4D0E-B737-ACF4A2DDEB26}"/>
          </ac:spMkLst>
        </pc:spChg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333636869" sldId="477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4173352601" sldId="505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4275670086" sldId="1378"/>
        </pc:sldMkLst>
      </pc:sldChg>
      <pc:sldChg chg="del">
        <pc:chgData name="Markhovski, Georg" userId="2b890f81-52a3-4bbc-b124-c2c97e4c390c" providerId="ADAL" clId="{63202909-7016-475A-A7A0-1463A6E1B5CC}" dt="2021-03-09T12:43:14.996" v="14" actId="47"/>
        <pc:sldMkLst>
          <pc:docMk/>
          <pc:sldMk cId="2707419020" sldId="1380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1502360844" sldId="257156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108042598" sldId="257157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1871172233" sldId="257158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278638597" sldId="257159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78240572" sldId="257161"/>
        </pc:sldMkLst>
      </pc:sldChg>
      <pc:sldChg chg="del">
        <pc:chgData name="Markhovski, Georg" userId="2b890f81-52a3-4bbc-b124-c2c97e4c390c" providerId="ADAL" clId="{63202909-7016-475A-A7A0-1463A6E1B5CC}" dt="2021-03-09T12:43:14.996" v="14" actId="47"/>
        <pc:sldMkLst>
          <pc:docMk/>
          <pc:sldMk cId="2248736180" sldId="257162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1534756714" sldId="257164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1465820255" sldId="257165"/>
        </pc:sldMkLst>
      </pc:sldChg>
      <pc:sldChg chg="del">
        <pc:chgData name="Markhovski, Georg" userId="2b890f81-52a3-4bbc-b124-c2c97e4c390c" providerId="ADAL" clId="{63202909-7016-475A-A7A0-1463A6E1B5CC}" dt="2021-03-09T12:43:26.810" v="15" actId="47"/>
        <pc:sldMkLst>
          <pc:docMk/>
          <pc:sldMk cId="1153683671" sldId="257166"/>
        </pc:sldMkLst>
      </pc:sldChg>
      <pc:sldChg chg="modAnim">
        <pc:chgData name="Markhovski, Georg" userId="2b890f81-52a3-4bbc-b124-c2c97e4c390c" providerId="ADAL" clId="{63202909-7016-475A-A7A0-1463A6E1B5CC}" dt="2021-03-09T12:44:33.010" v="16"/>
        <pc:sldMkLst>
          <pc:docMk/>
          <pc:sldMk cId="2934919492" sldId="257168"/>
        </pc:sldMkLst>
      </pc:sldChg>
      <pc:sldChg chg="modSp mod">
        <pc:chgData name="Markhovski, Georg" userId="2b890f81-52a3-4bbc-b124-c2c97e4c390c" providerId="ADAL" clId="{63202909-7016-475A-A7A0-1463A6E1B5CC}" dt="2021-03-09T12:52:18.553" v="20" actId="790"/>
        <pc:sldMkLst>
          <pc:docMk/>
          <pc:sldMk cId="437703121" sldId="257169"/>
        </pc:sldMkLst>
        <pc:spChg chg="mod">
          <ac:chgData name="Markhovski, Georg" userId="2b890f81-52a3-4bbc-b124-c2c97e4c390c" providerId="ADAL" clId="{63202909-7016-475A-A7A0-1463A6E1B5CC}" dt="2021-03-09T12:52:18.553" v="20" actId="790"/>
          <ac:spMkLst>
            <pc:docMk/>
            <pc:sldMk cId="437703121" sldId="257169"/>
            <ac:spMk id="2" creationId="{4B5FC9FA-68D6-49DD-BD7F-D5F57CF6AF3B}"/>
          </ac:spMkLst>
        </pc:spChg>
      </pc:sldChg>
      <pc:sldChg chg="modSp mod">
        <pc:chgData name="Markhovski, Georg" userId="2b890f81-52a3-4bbc-b124-c2c97e4c390c" providerId="ADAL" clId="{63202909-7016-475A-A7A0-1463A6E1B5CC}" dt="2021-03-09T12:52:30.200" v="21" actId="313"/>
        <pc:sldMkLst>
          <pc:docMk/>
          <pc:sldMk cId="2646241335" sldId="257174"/>
        </pc:sldMkLst>
        <pc:spChg chg="mod">
          <ac:chgData name="Markhovski, Georg" userId="2b890f81-52a3-4bbc-b124-c2c97e4c390c" providerId="ADAL" clId="{63202909-7016-475A-A7A0-1463A6E1B5CC}" dt="2021-03-09T12:52:30.200" v="21" actId="313"/>
          <ac:spMkLst>
            <pc:docMk/>
            <pc:sldMk cId="2646241335" sldId="257174"/>
            <ac:spMk id="2" creationId="{31B67854-4959-4C74-98A9-8A474F7FACCD}"/>
          </ac:spMkLst>
        </pc:spChg>
      </pc:sldChg>
      <pc:sldChg chg="modSp mod ord">
        <pc:chgData name="Markhovski, Georg" userId="2b890f81-52a3-4bbc-b124-c2c97e4c390c" providerId="ADAL" clId="{63202909-7016-475A-A7A0-1463A6E1B5CC}" dt="2021-03-09T12:46:26.403" v="19" actId="1076"/>
        <pc:sldMkLst>
          <pc:docMk/>
          <pc:sldMk cId="2553916360" sldId="257177"/>
        </pc:sldMkLst>
        <pc:picChg chg="mod">
          <ac:chgData name="Markhovski, Georg" userId="2b890f81-52a3-4bbc-b124-c2c97e4c390c" providerId="ADAL" clId="{63202909-7016-475A-A7A0-1463A6E1B5CC}" dt="2021-03-09T12:46:26.403" v="19" actId="1076"/>
          <ac:picMkLst>
            <pc:docMk/>
            <pc:sldMk cId="2553916360" sldId="257177"/>
            <ac:picMk id="3" creationId="{EF90A645-B60D-4917-99A0-DDB10A689B9C}"/>
          </ac:picMkLst>
        </pc:picChg>
      </pc:sldChg>
      <pc:sldMasterChg chg="del delSldLayout">
        <pc:chgData name="Markhovski, Georg" userId="2b890f81-52a3-4bbc-b124-c2c97e4c390c" providerId="ADAL" clId="{63202909-7016-475A-A7A0-1463A6E1B5CC}" dt="2021-03-09T12:43:26.810" v="15" actId="47"/>
        <pc:sldMasterMkLst>
          <pc:docMk/>
          <pc:sldMasterMk cId="2397766499" sldId="2147483774"/>
        </pc:sldMasterMkLst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746444605" sldId="2147483775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1402810061" sldId="2147483776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449312929" sldId="2147483777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3450508643" sldId="2147483778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3823148978" sldId="2147483779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1147666175" sldId="2147483780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280506868" sldId="2147483781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797083868" sldId="2147483782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1161008726" sldId="2147483783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2840730041" sldId="2147483784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3079256756" sldId="2147483785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3220272703" sldId="2147483786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3605482218" sldId="2147483787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2363532710" sldId="2147483788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1110212165" sldId="2147483789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1746988370" sldId="2147483790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2369292664" sldId="2147483791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3454276425" sldId="2147483792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983380164" sldId="2147483793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3824294021" sldId="2147483794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3263388925" sldId="2147483795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331358825" sldId="2147483796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1222785621" sldId="2147483797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2618152716" sldId="2147483798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1261042754" sldId="2147483799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3254834089" sldId="2147483800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1856490999" sldId="2147483801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2977422372" sldId="2147483802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1271441951" sldId="2147483803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700416225" sldId="2147483804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257462121" sldId="2147483805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83349811" sldId="2147483806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3245039891" sldId="2147483807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2576782462" sldId="2147483808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126317967" sldId="2147483809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1503564691" sldId="2147483810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3059764228" sldId="2147483811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499881189" sldId="2147483812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1518017564" sldId="2147483814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1618984150" sldId="2147483815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3353677908" sldId="2147483850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996288004" sldId="2147483851"/>
          </pc:sldLayoutMkLst>
        </pc:sldLayoutChg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397766499" sldId="2147483774"/>
            <pc:sldLayoutMk cId="3650074562" sldId="2147483852"/>
          </pc:sldLayoutMkLst>
        </pc:sldLayoutChg>
      </pc:sldMasterChg>
      <pc:sldMasterChg chg="delSldLayout">
        <pc:chgData name="Markhovski, Georg" userId="2b890f81-52a3-4bbc-b124-c2c97e4c390c" providerId="ADAL" clId="{63202909-7016-475A-A7A0-1463A6E1B5CC}" dt="2021-03-09T12:43:26.810" v="15" actId="47"/>
        <pc:sldMasterMkLst>
          <pc:docMk/>
          <pc:sldMasterMk cId="2541133764" sldId="2147483816"/>
        </pc:sldMasterMkLst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2541133764" sldId="2147483816"/>
            <pc:sldLayoutMk cId="3922823137" sldId="2147483833"/>
          </pc:sldLayoutMkLst>
        </pc:sldLayoutChg>
      </pc:sldMasterChg>
      <pc:sldMasterChg chg="delSldLayout">
        <pc:chgData name="Markhovski, Georg" userId="2b890f81-52a3-4bbc-b124-c2c97e4c390c" providerId="ADAL" clId="{63202909-7016-475A-A7A0-1463A6E1B5CC}" dt="2021-03-09T12:43:26.810" v="15" actId="47"/>
        <pc:sldMasterMkLst>
          <pc:docMk/>
          <pc:sldMasterMk cId="3665335916" sldId="2147483837"/>
        </pc:sldMasterMkLst>
        <pc:sldLayoutChg chg="del">
          <pc:chgData name="Markhovski, Georg" userId="2b890f81-52a3-4bbc-b124-c2c97e4c390c" providerId="ADAL" clId="{63202909-7016-475A-A7A0-1463A6E1B5CC}" dt="2021-03-09T12:43:26.810" v="15" actId="47"/>
          <pc:sldLayoutMkLst>
            <pc:docMk/>
            <pc:sldMasterMk cId="3665335916" sldId="2147483837"/>
            <pc:sldLayoutMk cId="1937209165" sldId="2147483849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0BB8ACD-0462-425C-85C3-9957C7EE1E7E}" type="doc">
      <dgm:prSet loTypeId="urn:microsoft.com/office/officeart/2005/8/layout/process2" loCatId="process" qsTypeId="urn:microsoft.com/office/officeart/2005/8/quickstyle/simple1" qsCatId="simple" csTypeId="urn:microsoft.com/office/officeart/2005/8/colors/accent1_2" csCatId="accent1" phldr="1"/>
      <dgm:spPr/>
    </dgm:pt>
    <dgm:pt modelId="{F0FB2A84-B0B6-4C30-9532-B586F83C052A}">
      <dgm:prSet phldrT="[Tekst]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da-DK" dirty="0"/>
            <a:t>Cloud</a:t>
          </a:r>
        </a:p>
      </dgm:t>
    </dgm:pt>
    <dgm:pt modelId="{C3314CBC-C3EE-4C6C-82E4-07EABE9C372E}" type="parTrans" cxnId="{5E36ED28-9F7D-4DF9-B35C-AA4112B9FF23}">
      <dgm:prSet/>
      <dgm:spPr/>
      <dgm:t>
        <a:bodyPr/>
        <a:lstStyle/>
        <a:p>
          <a:endParaRPr lang="da-DK"/>
        </a:p>
      </dgm:t>
    </dgm:pt>
    <dgm:pt modelId="{62E15F53-8B9E-46B1-9C7F-9797713FBFB1}" type="sibTrans" cxnId="{5E36ED28-9F7D-4DF9-B35C-AA4112B9FF23}">
      <dgm:prSet/>
      <dgm:spPr/>
      <dgm:t>
        <a:bodyPr/>
        <a:lstStyle/>
        <a:p>
          <a:endParaRPr lang="da-DK"/>
        </a:p>
      </dgm:t>
    </dgm:pt>
    <dgm:pt modelId="{3CF26F83-A9DA-4C00-9349-64351AEB0518}">
      <dgm:prSet phldrT="[Tekst]"/>
      <dgm:spPr/>
      <dgm:t>
        <a:bodyPr/>
        <a:lstStyle/>
        <a:p>
          <a:r>
            <a:rPr lang="da-DK" dirty="0"/>
            <a:t>CTS / BMS / SCADA</a:t>
          </a:r>
        </a:p>
      </dgm:t>
    </dgm:pt>
    <dgm:pt modelId="{BC3FF8DD-B74A-478A-BC46-7494BDFBB51C}" type="parTrans" cxnId="{55B53AD6-8A99-4B23-9E52-1C979C32DC75}">
      <dgm:prSet/>
      <dgm:spPr/>
      <dgm:t>
        <a:bodyPr/>
        <a:lstStyle/>
        <a:p>
          <a:endParaRPr lang="da-DK"/>
        </a:p>
      </dgm:t>
    </dgm:pt>
    <dgm:pt modelId="{276FE36F-7C2D-4A49-9769-0597CC7C84F6}" type="sibTrans" cxnId="{55B53AD6-8A99-4B23-9E52-1C979C32DC75}">
      <dgm:prSet/>
      <dgm:spPr/>
      <dgm:t>
        <a:bodyPr/>
        <a:lstStyle/>
        <a:p>
          <a:endParaRPr lang="da-DK"/>
        </a:p>
      </dgm:t>
    </dgm:pt>
    <dgm:pt modelId="{39F38BCD-D5D6-4C3F-8EEF-2D490EB44CC0}">
      <dgm:prSet phldrT="[Tekst]">
        <dgm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da-DK" dirty="0"/>
            <a:t>Controller</a:t>
          </a:r>
        </a:p>
      </dgm:t>
    </dgm:pt>
    <dgm:pt modelId="{0BB894FA-6E4D-4727-A384-A71F843F7EAB}" type="parTrans" cxnId="{563CDED6-F9C6-4112-8DB3-7B446B8272B3}">
      <dgm:prSet/>
      <dgm:spPr/>
      <dgm:t>
        <a:bodyPr/>
        <a:lstStyle/>
        <a:p>
          <a:endParaRPr lang="da-DK"/>
        </a:p>
      </dgm:t>
    </dgm:pt>
    <dgm:pt modelId="{2ABA3D12-D7DF-4473-BD27-90A64F2FA389}" type="sibTrans" cxnId="{563CDED6-F9C6-4112-8DB3-7B446B8272B3}">
      <dgm:prSet/>
      <dgm:spPr/>
      <dgm:t>
        <a:bodyPr/>
        <a:lstStyle/>
        <a:p>
          <a:endParaRPr lang="da-DK"/>
        </a:p>
      </dgm:t>
    </dgm:pt>
    <dgm:pt modelId="{82C5B167-4D13-4941-9DB2-D143CB73869E}" type="pres">
      <dgm:prSet presAssocID="{D0BB8ACD-0462-425C-85C3-9957C7EE1E7E}" presName="linearFlow" presStyleCnt="0">
        <dgm:presLayoutVars>
          <dgm:resizeHandles val="exact"/>
        </dgm:presLayoutVars>
      </dgm:prSet>
      <dgm:spPr/>
    </dgm:pt>
    <dgm:pt modelId="{D7C202F3-3FCA-4E10-8505-3166A58152D7}" type="pres">
      <dgm:prSet presAssocID="{F0FB2A84-B0B6-4C30-9532-B586F83C052A}" presName="node" presStyleLbl="node1" presStyleIdx="0" presStyleCnt="3">
        <dgm:presLayoutVars>
          <dgm:bulletEnabled val="1"/>
        </dgm:presLayoutVars>
      </dgm:prSet>
      <dgm:spPr>
        <a:prstGeom prst="cloud">
          <a:avLst/>
        </a:prstGeom>
      </dgm:spPr>
    </dgm:pt>
    <dgm:pt modelId="{778A4BA9-9D6C-4C53-8766-8AEA4734A514}" type="pres">
      <dgm:prSet presAssocID="{62E15F53-8B9E-46B1-9C7F-9797713FBFB1}" presName="sibTrans" presStyleLbl="sibTrans2D1" presStyleIdx="0" presStyleCnt="2" custAng="10800000"/>
      <dgm:spPr/>
    </dgm:pt>
    <dgm:pt modelId="{501998E4-037D-4440-88E5-F1DF390BD89B}" type="pres">
      <dgm:prSet presAssocID="{62E15F53-8B9E-46B1-9C7F-9797713FBFB1}" presName="connectorText" presStyleLbl="sibTrans2D1" presStyleIdx="0" presStyleCnt="2"/>
      <dgm:spPr/>
    </dgm:pt>
    <dgm:pt modelId="{F809D92E-4CCD-487C-BC67-2FB67E409FFF}" type="pres">
      <dgm:prSet presAssocID="{3CF26F83-A9DA-4C00-9349-64351AEB0518}" presName="node" presStyleLbl="node1" presStyleIdx="1" presStyleCnt="3">
        <dgm:presLayoutVars>
          <dgm:bulletEnabled val="1"/>
        </dgm:presLayoutVars>
      </dgm:prSet>
      <dgm:spPr/>
    </dgm:pt>
    <dgm:pt modelId="{4B8FBC34-DFA1-4ECA-A7EA-5F707B1D4C06}" type="pres">
      <dgm:prSet presAssocID="{276FE36F-7C2D-4A49-9769-0597CC7C84F6}" presName="sibTrans" presStyleLbl="sibTrans2D1" presStyleIdx="1" presStyleCnt="2" custAng="10800000"/>
      <dgm:spPr/>
    </dgm:pt>
    <dgm:pt modelId="{689142E9-05AA-43BA-BA65-4F4535940EE3}" type="pres">
      <dgm:prSet presAssocID="{276FE36F-7C2D-4A49-9769-0597CC7C84F6}" presName="connectorText" presStyleLbl="sibTrans2D1" presStyleIdx="1" presStyleCnt="2"/>
      <dgm:spPr/>
    </dgm:pt>
    <dgm:pt modelId="{D8F23CC9-E28C-433C-ABC7-0F3149F80FE9}" type="pres">
      <dgm:prSet presAssocID="{39F38BCD-D5D6-4C3F-8EEF-2D490EB44CC0}" presName="node" presStyleLbl="node1" presStyleIdx="2" presStyleCnt="3">
        <dgm:presLayoutVars>
          <dgm:bulletEnabled val="1"/>
        </dgm:presLayoutVars>
      </dgm:prSet>
      <dgm:spPr>
        <a:prstGeom prst="rect">
          <a:avLst/>
        </a:prstGeom>
      </dgm:spPr>
    </dgm:pt>
  </dgm:ptLst>
  <dgm:cxnLst>
    <dgm:cxn modelId="{9EFB4506-5299-49C8-A932-6FEB509F6401}" type="presOf" srcId="{F0FB2A84-B0B6-4C30-9532-B586F83C052A}" destId="{D7C202F3-3FCA-4E10-8505-3166A58152D7}" srcOrd="0" destOrd="0" presId="urn:microsoft.com/office/officeart/2005/8/layout/process2"/>
    <dgm:cxn modelId="{5E36ED28-9F7D-4DF9-B35C-AA4112B9FF23}" srcId="{D0BB8ACD-0462-425C-85C3-9957C7EE1E7E}" destId="{F0FB2A84-B0B6-4C30-9532-B586F83C052A}" srcOrd="0" destOrd="0" parTransId="{C3314CBC-C3EE-4C6C-82E4-07EABE9C372E}" sibTransId="{62E15F53-8B9E-46B1-9C7F-9797713FBFB1}"/>
    <dgm:cxn modelId="{FC647135-FF7C-43ED-AB5F-F06E0A40E4E0}" type="presOf" srcId="{276FE36F-7C2D-4A49-9769-0597CC7C84F6}" destId="{4B8FBC34-DFA1-4ECA-A7EA-5F707B1D4C06}" srcOrd="0" destOrd="0" presId="urn:microsoft.com/office/officeart/2005/8/layout/process2"/>
    <dgm:cxn modelId="{9D2AB64D-6B06-4C74-A9B1-76EBDB07E703}" type="presOf" srcId="{D0BB8ACD-0462-425C-85C3-9957C7EE1E7E}" destId="{82C5B167-4D13-4941-9DB2-D143CB73869E}" srcOrd="0" destOrd="0" presId="urn:microsoft.com/office/officeart/2005/8/layout/process2"/>
    <dgm:cxn modelId="{D687E075-54E8-43A0-93E4-87B7A7F7A97C}" type="presOf" srcId="{276FE36F-7C2D-4A49-9769-0597CC7C84F6}" destId="{689142E9-05AA-43BA-BA65-4F4535940EE3}" srcOrd="1" destOrd="0" presId="urn:microsoft.com/office/officeart/2005/8/layout/process2"/>
    <dgm:cxn modelId="{035DCD59-AE62-4025-B316-15DB1827BE24}" type="presOf" srcId="{62E15F53-8B9E-46B1-9C7F-9797713FBFB1}" destId="{501998E4-037D-4440-88E5-F1DF390BD89B}" srcOrd="1" destOrd="0" presId="urn:microsoft.com/office/officeart/2005/8/layout/process2"/>
    <dgm:cxn modelId="{0BC22895-A997-4979-A495-7B6093668B6E}" type="presOf" srcId="{39F38BCD-D5D6-4C3F-8EEF-2D490EB44CC0}" destId="{D8F23CC9-E28C-433C-ABC7-0F3149F80FE9}" srcOrd="0" destOrd="0" presId="urn:microsoft.com/office/officeart/2005/8/layout/process2"/>
    <dgm:cxn modelId="{55B53AD6-8A99-4B23-9E52-1C979C32DC75}" srcId="{D0BB8ACD-0462-425C-85C3-9957C7EE1E7E}" destId="{3CF26F83-A9DA-4C00-9349-64351AEB0518}" srcOrd="1" destOrd="0" parTransId="{BC3FF8DD-B74A-478A-BC46-7494BDFBB51C}" sibTransId="{276FE36F-7C2D-4A49-9769-0597CC7C84F6}"/>
    <dgm:cxn modelId="{563CDED6-F9C6-4112-8DB3-7B446B8272B3}" srcId="{D0BB8ACD-0462-425C-85C3-9957C7EE1E7E}" destId="{39F38BCD-D5D6-4C3F-8EEF-2D490EB44CC0}" srcOrd="2" destOrd="0" parTransId="{0BB894FA-6E4D-4727-A384-A71F843F7EAB}" sibTransId="{2ABA3D12-D7DF-4473-BD27-90A64F2FA389}"/>
    <dgm:cxn modelId="{517F11E6-264B-4059-8BE6-1E1DBB54CC9E}" type="presOf" srcId="{3CF26F83-A9DA-4C00-9349-64351AEB0518}" destId="{F809D92E-4CCD-487C-BC67-2FB67E409FFF}" srcOrd="0" destOrd="0" presId="urn:microsoft.com/office/officeart/2005/8/layout/process2"/>
    <dgm:cxn modelId="{D3624CFF-B119-4C6E-B819-04CA6BFCABDB}" type="presOf" srcId="{62E15F53-8B9E-46B1-9C7F-9797713FBFB1}" destId="{778A4BA9-9D6C-4C53-8766-8AEA4734A514}" srcOrd="0" destOrd="0" presId="urn:microsoft.com/office/officeart/2005/8/layout/process2"/>
    <dgm:cxn modelId="{32959A7D-FE0B-4822-BC9A-2AB8BFBBDFE7}" type="presParOf" srcId="{82C5B167-4D13-4941-9DB2-D143CB73869E}" destId="{D7C202F3-3FCA-4E10-8505-3166A58152D7}" srcOrd="0" destOrd="0" presId="urn:microsoft.com/office/officeart/2005/8/layout/process2"/>
    <dgm:cxn modelId="{511E15AA-9F8D-4F12-B567-8829B412FCE7}" type="presParOf" srcId="{82C5B167-4D13-4941-9DB2-D143CB73869E}" destId="{778A4BA9-9D6C-4C53-8766-8AEA4734A514}" srcOrd="1" destOrd="0" presId="urn:microsoft.com/office/officeart/2005/8/layout/process2"/>
    <dgm:cxn modelId="{381DD3CA-46AD-41E1-910D-6BAAA1498EB1}" type="presParOf" srcId="{778A4BA9-9D6C-4C53-8766-8AEA4734A514}" destId="{501998E4-037D-4440-88E5-F1DF390BD89B}" srcOrd="0" destOrd="0" presId="urn:microsoft.com/office/officeart/2005/8/layout/process2"/>
    <dgm:cxn modelId="{990ED005-11E5-48C1-BD02-BBCF0A225DD2}" type="presParOf" srcId="{82C5B167-4D13-4941-9DB2-D143CB73869E}" destId="{F809D92E-4CCD-487C-BC67-2FB67E409FFF}" srcOrd="2" destOrd="0" presId="urn:microsoft.com/office/officeart/2005/8/layout/process2"/>
    <dgm:cxn modelId="{EAA6DC61-0854-4432-ADEC-66C69642DE08}" type="presParOf" srcId="{82C5B167-4D13-4941-9DB2-D143CB73869E}" destId="{4B8FBC34-DFA1-4ECA-A7EA-5F707B1D4C06}" srcOrd="3" destOrd="0" presId="urn:microsoft.com/office/officeart/2005/8/layout/process2"/>
    <dgm:cxn modelId="{4EE24469-C77F-4220-B99F-49D6283674FA}" type="presParOf" srcId="{4B8FBC34-DFA1-4ECA-A7EA-5F707B1D4C06}" destId="{689142E9-05AA-43BA-BA65-4F4535940EE3}" srcOrd="0" destOrd="0" presId="urn:microsoft.com/office/officeart/2005/8/layout/process2"/>
    <dgm:cxn modelId="{E824A6C6-BECF-46AE-93A5-C4E94F6D0151}" type="presParOf" srcId="{82C5B167-4D13-4941-9DB2-D143CB73869E}" destId="{D8F23CC9-E28C-433C-ABC7-0F3149F80FE9}" srcOrd="4" destOrd="0" presId="urn:microsoft.com/office/officeart/2005/8/layout/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7C202F3-3FCA-4E10-8505-3166A58152D7}">
      <dsp:nvSpPr>
        <dsp:cNvPr id="0" name=""/>
        <dsp:cNvSpPr/>
      </dsp:nvSpPr>
      <dsp:spPr>
        <a:xfrm>
          <a:off x="105552" y="0"/>
          <a:ext cx="1828782" cy="1015990"/>
        </a:xfrm>
        <a:prstGeom prst="cloud">
          <a:avLst/>
        </a:prstGeom>
        <a:gradFill rotWithShape="1">
          <a:gsLst>
            <a:gs pos="0">
              <a:schemeClr val="accent5">
                <a:lumMod val="110000"/>
                <a:satMod val="105000"/>
                <a:tint val="67000"/>
              </a:schemeClr>
            </a:gs>
            <a:gs pos="50000">
              <a:schemeClr val="accent5">
                <a:lumMod val="105000"/>
                <a:satMod val="103000"/>
                <a:tint val="73000"/>
              </a:schemeClr>
            </a:gs>
            <a:gs pos="100000">
              <a:schemeClr val="accent5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 dirty="0"/>
            <a:t>Cloud</a:t>
          </a:r>
        </a:p>
      </dsp:txBody>
      <dsp:txXfrm>
        <a:off x="357602" y="153433"/>
        <a:ext cx="1194635" cy="662040"/>
      </dsp:txXfrm>
    </dsp:sp>
    <dsp:sp modelId="{778A4BA9-9D6C-4C53-8766-8AEA4734A514}">
      <dsp:nvSpPr>
        <dsp:cNvPr id="0" name=""/>
        <dsp:cNvSpPr/>
      </dsp:nvSpPr>
      <dsp:spPr>
        <a:xfrm rot="16200000">
          <a:off x="829445" y="1041390"/>
          <a:ext cx="380996" cy="45719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1900" kern="1200"/>
        </a:p>
      </dsp:txBody>
      <dsp:txXfrm rot="-5400000">
        <a:off x="882785" y="1193789"/>
        <a:ext cx="274317" cy="266697"/>
      </dsp:txXfrm>
    </dsp:sp>
    <dsp:sp modelId="{F809D92E-4CCD-487C-BC67-2FB67E409FFF}">
      <dsp:nvSpPr>
        <dsp:cNvPr id="0" name=""/>
        <dsp:cNvSpPr/>
      </dsp:nvSpPr>
      <dsp:spPr>
        <a:xfrm>
          <a:off x="105552" y="1523985"/>
          <a:ext cx="1828782" cy="101599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 dirty="0"/>
            <a:t>CTS / BMS / SCADA</a:t>
          </a:r>
        </a:p>
      </dsp:txBody>
      <dsp:txXfrm>
        <a:off x="135309" y="1553742"/>
        <a:ext cx="1769268" cy="956476"/>
      </dsp:txXfrm>
    </dsp:sp>
    <dsp:sp modelId="{4B8FBC34-DFA1-4ECA-A7EA-5F707B1D4C06}">
      <dsp:nvSpPr>
        <dsp:cNvPr id="0" name=""/>
        <dsp:cNvSpPr/>
      </dsp:nvSpPr>
      <dsp:spPr>
        <a:xfrm rot="16200000">
          <a:off x="829445" y="2565376"/>
          <a:ext cx="380996" cy="45719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1900" kern="1200"/>
        </a:p>
      </dsp:txBody>
      <dsp:txXfrm rot="-5400000">
        <a:off x="882785" y="2717775"/>
        <a:ext cx="274317" cy="266697"/>
      </dsp:txXfrm>
    </dsp:sp>
    <dsp:sp modelId="{D8F23CC9-E28C-433C-ABC7-0F3149F80FE9}">
      <dsp:nvSpPr>
        <dsp:cNvPr id="0" name=""/>
        <dsp:cNvSpPr/>
      </dsp:nvSpPr>
      <dsp:spPr>
        <a:xfrm>
          <a:off x="105552" y="3047971"/>
          <a:ext cx="1828782" cy="1015990"/>
        </a:xfrm>
        <a:prstGeom prst="rect">
          <a:avLst/>
        </a:prstGeom>
        <a:solidFill>
          <a:schemeClr val="accent3"/>
        </a:solidFill>
        <a:ln w="19050" cap="flat" cmpd="sng" algn="ctr">
          <a:solidFill>
            <a:schemeClr val="lt1"/>
          </a:solidFill>
          <a:prstDash val="solid"/>
          <a:miter lim="800000"/>
        </a:ln>
        <a:effectLst/>
      </dsp:spPr>
      <dsp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2600" kern="1200" dirty="0"/>
            <a:t>Controller</a:t>
          </a:r>
        </a:p>
      </dsp:txBody>
      <dsp:txXfrm>
        <a:off x="105552" y="3047971"/>
        <a:ext cx="1828782" cy="10159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2">
  <dgm:title val=""/>
  <dgm:desc val=""/>
  <dgm:catLst>
    <dgm:cat type="process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resizeHandles val="exact"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h" for="ch" ptType="node" refType="h"/>
      <dgm:constr type="h" for="ch" ptType="sibTrans" refType="h" refFor="ch" refPtType="node" fact="0.5"/>
      <dgm:constr type="w" for="ch" ptType="node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choose name="Name0">
          <dgm:if name="Name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2">
            <dgm:alg type="tx"/>
          </dgm:else>
        </dgm:choose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w" refType="h" fact="1.8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w" val="NaN" fact="4" max="NaN"/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w" refType="h" fact="0.9"/>
            <dgm:constr type="connDist"/>
            <dgm:constr type="wArH" refType="w" fact="0.5"/>
            <dgm:constr type="hArH" refType="w"/>
            <dgm:constr type="stemThick" refType="w" fact="0.6"/>
            <dgm:constr type="begPad" refType="connDist" fact="0.125"/>
            <dgm:constr type="endPad" refType="connDist" fact="0.125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243832-A9ED-4D34-846A-F6D5970AFB40}" type="datetimeFigureOut">
              <a:rPr lang="da-DK" smtClean="0"/>
              <a:t>09-03-2021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8CE17B-FD59-4A57-B385-A1A19DF0BCD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255104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8CE17B-FD59-4A57-B385-A1A19DF0BCDB}" type="slidenum">
              <a:rPr lang="da-DK" smtClean="0"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265206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057650"/>
            <a:ext cx="9144000" cy="109728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24000">
                <a:schemeClr val="bg1">
                  <a:lumMod val="75000"/>
                </a:schemeClr>
              </a:gs>
              <a:gs pos="5300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7" name="Picture 4" descr="wireframeXXXXL.png"/>
          <p:cNvPicPr>
            <a:picLocks noChangeAspect="1"/>
          </p:cNvPicPr>
          <p:nvPr userDrawn="1"/>
        </p:nvPicPr>
        <p:blipFill>
          <a:blip r:embed="rId2" cstate="print"/>
          <a:srcRect l="23579"/>
          <a:stretch>
            <a:fillRect/>
          </a:stretch>
        </p:blipFill>
        <p:spPr bwMode="auto">
          <a:xfrm>
            <a:off x="0" y="1275875"/>
            <a:ext cx="3043238" cy="3887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3203576" y="2221707"/>
            <a:ext cx="5400675" cy="40005"/>
          </a:xfrm>
          <a:prstGeom prst="rect">
            <a:avLst/>
          </a:prstGeom>
          <a:solidFill>
            <a:srgbClr val="FF7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9" name="Picture 11" descr="Trend_65_100_CMYK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7626" y="4774883"/>
            <a:ext cx="1008063" cy="207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1841" y="1832357"/>
            <a:ext cx="5323259" cy="324833"/>
          </a:xfrm>
        </p:spPr>
        <p:txBody>
          <a:bodyPr/>
          <a:lstStyle>
            <a:lvl1pPr algn="l"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3132138" y="2377440"/>
            <a:ext cx="5328294" cy="194310"/>
          </a:xfrm>
        </p:spPr>
        <p:txBody>
          <a:bodyPr/>
          <a:lstStyle>
            <a:lvl1pPr>
              <a:buNone/>
              <a:defRPr sz="1100" b="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Nam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131840" y="2571750"/>
            <a:ext cx="5328592" cy="194422"/>
          </a:xfrm>
        </p:spPr>
        <p:txBody>
          <a:bodyPr/>
          <a:lstStyle>
            <a:lvl1pPr>
              <a:buNone/>
              <a:defRPr sz="1100" b="0" baseline="0">
                <a:latin typeface="Arial Black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3131840" y="2766171"/>
            <a:ext cx="5328592" cy="194422"/>
          </a:xfrm>
        </p:spPr>
        <p:txBody>
          <a:bodyPr/>
          <a:lstStyle>
            <a:lvl1pPr>
              <a:buNone/>
              <a:defRPr sz="1000" b="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+ Pic Light">
    <p:bg>
      <p:bgPr>
        <a:blipFill dpi="0"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276" r="14455" b="17814"/>
          <a:stretch/>
        </p:blipFill>
        <p:spPr>
          <a:xfrm>
            <a:off x="6070354" y="151551"/>
            <a:ext cx="919292" cy="516657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74455" y="2008258"/>
            <a:ext cx="2057400" cy="273844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200" b="1"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9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4717" y="-65968"/>
            <a:ext cx="3948937" cy="1114424"/>
          </a:xfrm>
          <a:prstGeom prst="rect">
            <a:avLst/>
          </a:prstGeom>
        </p:spPr>
      </p:pic>
      <p:pic>
        <p:nvPicPr>
          <p:cNvPr id="10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6775" y="-195616"/>
            <a:ext cx="1965569" cy="1389967"/>
          </a:xfrm>
          <a:prstGeom prst="rect">
            <a:avLst/>
          </a:prstGeom>
        </p:spPr>
      </p:pic>
      <p:pic>
        <p:nvPicPr>
          <p:cNvPr id="11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3245" y="325400"/>
            <a:ext cx="894153" cy="320819"/>
          </a:xfrm>
          <a:prstGeom prst="rect">
            <a:avLst/>
          </a:prstGeom>
        </p:spPr>
      </p:pic>
      <p:pic>
        <p:nvPicPr>
          <p:cNvPr id="13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68133" y="337947"/>
            <a:ext cx="770597" cy="315961"/>
          </a:xfrm>
          <a:prstGeom prst="rect">
            <a:avLst/>
          </a:prstGeom>
        </p:spPr>
      </p:pic>
      <p:pic>
        <p:nvPicPr>
          <p:cNvPr id="14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5376" y="351106"/>
            <a:ext cx="976874" cy="260351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4455" y="1057276"/>
            <a:ext cx="8369016" cy="1006298"/>
          </a:xfrm>
        </p:spPr>
        <p:txBody>
          <a:bodyPr/>
          <a:lstStyle>
            <a:lvl1pPr>
              <a:defRPr sz="3300"/>
            </a:lvl1pPr>
          </a:lstStyle>
          <a:p>
            <a:r>
              <a:rPr lang="en-US" dirty="0">
                <a:solidFill>
                  <a:schemeClr val="accent1"/>
                </a:solidFill>
              </a:rPr>
              <a:t>Connected partner</a:t>
            </a:r>
            <a:br>
              <a:rPr lang="en-US" dirty="0">
                <a:solidFill>
                  <a:schemeClr val="accent1"/>
                </a:solidFill>
              </a:rPr>
            </a:br>
            <a:r>
              <a:rPr lang="en-US" dirty="0"/>
              <a:t>Conference</a:t>
            </a:r>
          </a:p>
        </p:txBody>
      </p:sp>
    </p:spTree>
    <p:extLst>
      <p:ext uri="{BB962C8B-B14F-4D97-AF65-F5344CB8AC3E}">
        <p14:creationId xmlns:p14="http://schemas.microsoft.com/office/powerpoint/2010/main" val="486981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4012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35927" y="1031875"/>
            <a:ext cx="7880960" cy="3512492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 marL="1200150" indent="-171450">
              <a:buClr>
                <a:schemeClr val="accent3"/>
              </a:buClr>
              <a:buFont typeface="Arial" panose="020B0604020202020204" pitchFamily="34" charset="0"/>
              <a:buChar char="-"/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C380C9-3062-4F1D-A521-BEC000498A55}" type="slidenum">
              <a:rPr lang="en-US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5925" y="455336"/>
            <a:ext cx="7874939" cy="373958"/>
          </a:xfrm>
          <a:prstGeom prst="rect">
            <a:avLst/>
          </a:prstGeom>
        </p:spPr>
        <p:txBody>
          <a:bodyPr/>
          <a:lstStyle/>
          <a:p>
            <a:r>
              <a:rPr lang="en-US" altLang="en-US"/>
              <a:t>The Power Of Connected Buildings</a:t>
            </a:r>
            <a:endParaRPr altLang="en-US"/>
          </a:p>
        </p:txBody>
      </p:sp>
    </p:spTree>
    <p:extLst>
      <p:ext uri="{BB962C8B-B14F-4D97-AF65-F5344CB8AC3E}">
        <p14:creationId xmlns:p14="http://schemas.microsoft.com/office/powerpoint/2010/main" val="74918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3"/>
          <p:cNvSpPr txBox="1">
            <a:spLocks noChangeArrowheads="1"/>
          </p:cNvSpPr>
          <p:nvPr/>
        </p:nvSpPr>
        <p:spPr bwMode="auto">
          <a:xfrm>
            <a:off x="1812926" y="3325417"/>
            <a:ext cx="5426075" cy="36933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defRPr/>
            </a:pPr>
            <a:endParaRPr lang="en-GB">
              <a:cs typeface="+mn-cs"/>
            </a:endParaRPr>
          </a:p>
        </p:txBody>
      </p:sp>
      <p:pic>
        <p:nvPicPr>
          <p:cNvPr id="5" name="Picture 16" descr="Trend_021C_sm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47800" y="1689497"/>
            <a:ext cx="3810000" cy="503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4140" name="Rectangle 12"/>
          <p:cNvSpPr>
            <a:spLocks noGrp="1" noChangeArrowheads="1"/>
          </p:cNvSpPr>
          <p:nvPr>
            <p:ph type="ctrTitle" sz="quarter"/>
          </p:nvPr>
        </p:nvSpPr>
        <p:spPr>
          <a:xfrm>
            <a:off x="1323975" y="2463404"/>
            <a:ext cx="7620000" cy="514350"/>
          </a:xfrm>
          <a:ln w="9525"/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Presentation Title should be Arial 24</a:t>
            </a:r>
          </a:p>
        </p:txBody>
      </p:sp>
      <p:sp>
        <p:nvSpPr>
          <p:cNvPr id="30414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52550" y="3165872"/>
            <a:ext cx="6400800" cy="400050"/>
          </a:xfrm>
          <a:ln w="9525"/>
        </p:spPr>
        <p:txBody>
          <a:bodyPr/>
          <a:lstStyle>
            <a:lvl1pPr marL="0" indent="0">
              <a:buFont typeface="Wingdings" pitchFamily="2" charset="2"/>
              <a:buNone/>
              <a:defRPr sz="1200"/>
            </a:lvl1pPr>
          </a:lstStyle>
          <a:p>
            <a:r>
              <a:rPr lang="en-US"/>
              <a:t>Your name and job function should be Arial 16</a:t>
            </a:r>
          </a:p>
        </p:txBody>
      </p:sp>
    </p:spTree>
    <p:extLst>
      <p:ext uri="{BB962C8B-B14F-4D97-AF65-F5344CB8AC3E}">
        <p14:creationId xmlns:p14="http://schemas.microsoft.com/office/powerpoint/2010/main" val="2184901527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3AAE9C-D35D-45F2-8DA2-A52B11E9FD1D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697796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0E1F7E-C2C1-4690-A56E-73BC5A9A03E1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87603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3900" y="897732"/>
            <a:ext cx="3657600" cy="3559969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3900" y="897732"/>
            <a:ext cx="3657600" cy="3559969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35B099-2705-45EF-8D88-B8841D1450B6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26373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978C1F-94EA-40DA-9A8A-0AD1C10CA9C3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74176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8B3FB6-7B1B-479C-9784-D2E112D4AA4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427797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3F552D-8E66-4891-AA89-D30248CF8168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23364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68314" y="585788"/>
            <a:ext cx="8207375" cy="41434"/>
          </a:xfrm>
          <a:prstGeom prst="rect">
            <a:avLst/>
          </a:prstGeom>
          <a:solidFill>
            <a:srgbClr val="FF7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74848" y="270547"/>
            <a:ext cx="8229600" cy="292180"/>
          </a:xfrm>
        </p:spPr>
        <p:txBody>
          <a:bodyPr/>
          <a:lstStyle>
            <a:lvl1pPr algn="l"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374848" y="821532"/>
            <a:ext cx="8280400" cy="375904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1CCF95-03A2-44AC-AC09-9E3084C75D01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7754417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106DF7-F3F1-47AB-BE61-D784462F1146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5747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B0F7B7-2064-42C8-AF6E-CD9CA74FEC71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420728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02414" y="141685"/>
            <a:ext cx="1989137" cy="431601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3413" y="141685"/>
            <a:ext cx="5816600" cy="431601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A0EB96-4461-4A38-9267-AE4B3CFE5B56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8427399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633414" y="141685"/>
            <a:ext cx="7958137" cy="514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723900" y="897732"/>
            <a:ext cx="3657600" cy="17228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33900" y="897732"/>
            <a:ext cx="3657600" cy="17228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723900" y="2734866"/>
            <a:ext cx="3657600" cy="17228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3900" y="2734866"/>
            <a:ext cx="3657600" cy="17228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662DEF-FF49-4ADD-8549-C5DDE215E5CE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880255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3414" y="141685"/>
            <a:ext cx="7958137" cy="5143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23900" y="897732"/>
            <a:ext cx="3657600" cy="355996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533900" y="897732"/>
            <a:ext cx="3657600" cy="172283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33900" y="2734866"/>
            <a:ext cx="3657600" cy="172283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A8E97B-ABB9-41FE-9D19-07EDCA40B270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538385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_Rechts_Text 6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"/>
          <p:cNvSpPr txBox="1">
            <a:spLocks/>
          </p:cNvSpPr>
          <p:nvPr userDrawn="1"/>
        </p:nvSpPr>
        <p:spPr>
          <a:xfrm>
            <a:off x="8886826" y="92869"/>
            <a:ext cx="506413" cy="378619"/>
          </a:xfrm>
          <a:prstGeom prst="rect">
            <a:avLst/>
          </a:prstGeom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EBD98490-5F84-4595-9EF5-96AF6CE4F5FE}" type="slidenum">
              <a:rPr lang="en-US" altLang="de-DE" sz="750" b="1" smtClean="0">
                <a:solidFill>
                  <a:schemeClr val="bg1"/>
                </a:solidFill>
                <a:latin typeface="HelveticaNeue MediumCond"/>
                <a:ea typeface="HelveticaNeue MediumCond"/>
                <a:cs typeface="HelveticaNeue MediumCond"/>
              </a:rPr>
              <a:pPr eaLnBrk="1" hangingPunct="1">
                <a:defRPr/>
              </a:pPr>
              <a:t>‹nr.›</a:t>
            </a:fld>
            <a:endParaRPr lang="en-US" altLang="de-DE" sz="750" b="1">
              <a:solidFill>
                <a:schemeClr val="bg1"/>
              </a:solidFill>
              <a:latin typeface="HelveticaNeue MediumCond"/>
              <a:ea typeface="HelveticaNeue MediumCond"/>
              <a:cs typeface="HelveticaNeue MediumCond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 userDrawn="1"/>
        </p:nvSpPr>
        <p:spPr bwMode="auto">
          <a:xfrm>
            <a:off x="8590936" y="83344"/>
            <a:ext cx="497503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B02DD17E-D52F-446E-B3B2-0F1A823B6F63}" type="slidenum">
              <a:rPr lang="en-US" altLang="de-DE" sz="750" b="1" smtClean="0">
                <a:solidFill>
                  <a:schemeClr val="bg1"/>
                </a:solidFill>
                <a:latin typeface="Helvetica Neue"/>
              </a:rPr>
              <a:pPr algn="ctr">
                <a:defRPr/>
              </a:pPr>
              <a:t>‹nr.›</a:t>
            </a:fld>
            <a:endParaRPr lang="en-US" altLang="de-DE" sz="750" b="1" dirty="0">
              <a:solidFill>
                <a:schemeClr val="bg1"/>
              </a:solidFill>
              <a:latin typeface="Helvetica Neue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80" y="268357"/>
            <a:ext cx="8573859" cy="373958"/>
          </a:xfrm>
        </p:spPr>
        <p:txBody>
          <a:bodyPr/>
          <a:lstStyle>
            <a:lvl1pPr>
              <a:defRPr baseline="0">
                <a:solidFill>
                  <a:srgbClr val="77777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19800" y="806054"/>
            <a:ext cx="3003550" cy="408182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buClr>
                <a:srgbClr val="2F9F48"/>
              </a:buClr>
              <a:buFont typeface="Arial" panose="020B0604020202020204" pitchFamily="34" charset="0"/>
              <a:buNone/>
              <a:defRPr lang="en-US" sz="1050" kern="1200" dirty="0" smtClean="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69056" indent="-69056">
              <a:buClr>
                <a:schemeClr val="accent2"/>
              </a:buClr>
              <a:defRPr lang="en-US" sz="788" kern="1200" dirty="0" smtClean="0">
                <a:solidFill>
                  <a:srgbClr val="7E7E7E"/>
                </a:solidFill>
                <a:latin typeface="Calibri"/>
                <a:ea typeface="+mn-ea"/>
                <a:cs typeface="Calibri"/>
              </a:defRPr>
            </a:lvl2pPr>
            <a:lvl3pPr marL="603644" indent="-133349">
              <a:buClr>
                <a:schemeClr val="accent2"/>
              </a:buClr>
              <a:defRPr lang="en-US" sz="788" kern="1200" dirty="0" smtClean="0">
                <a:solidFill>
                  <a:srgbClr val="7E7E7E"/>
                </a:solidFill>
                <a:latin typeface="Calibri"/>
                <a:ea typeface="+mn-ea"/>
                <a:cs typeface="Calibri"/>
              </a:defRPr>
            </a:lvl3pPr>
            <a:lvl4pPr marL="901298" indent="-126206">
              <a:buClr>
                <a:schemeClr val="accent2"/>
              </a:buClr>
              <a:buFontTx/>
              <a:buChar char="-"/>
              <a:defRPr lang="en-US" sz="788" kern="1200" dirty="0" smtClean="0">
                <a:solidFill>
                  <a:srgbClr val="7E7E7E"/>
                </a:solidFill>
                <a:latin typeface="Calibri"/>
                <a:ea typeface="+mn-ea"/>
                <a:cs typeface="Calibri"/>
              </a:defRPr>
            </a:lvl4pPr>
            <a:lvl5pPr marL="1289440" indent="-133349">
              <a:buClr>
                <a:schemeClr val="accent2"/>
              </a:buClr>
              <a:defRPr lang="en-US" sz="788" kern="1200" dirty="0">
                <a:solidFill>
                  <a:srgbClr val="7E7E7E"/>
                </a:solidFill>
                <a:latin typeface="Calibri"/>
                <a:ea typeface="+mn-ea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Box 5"/>
          <p:cNvSpPr txBox="1">
            <a:spLocks noChangeArrowheads="1"/>
          </p:cNvSpPr>
          <p:nvPr userDrawn="1"/>
        </p:nvSpPr>
        <p:spPr bwMode="auto">
          <a:xfrm>
            <a:off x="8433882" y="83811"/>
            <a:ext cx="710119" cy="20774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C69C501B-9F85-4DFA-9B02-B5E3557839FF}" type="slidenum">
              <a:rPr lang="en-US" altLang="de-DE" sz="750" b="1" smtClean="0">
                <a:solidFill>
                  <a:schemeClr val="bg2"/>
                </a:solidFill>
                <a:latin typeface="Helvetica Neue"/>
              </a:rPr>
              <a:pPr algn="ctr">
                <a:defRPr/>
              </a:pPr>
              <a:t>‹nr.›</a:t>
            </a:fld>
            <a:endParaRPr lang="en-US" altLang="de-DE" sz="750" b="1" dirty="0">
              <a:solidFill>
                <a:schemeClr val="bg2"/>
              </a:solidFill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8132061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_Rechts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"/>
          <p:cNvSpPr txBox="1">
            <a:spLocks/>
          </p:cNvSpPr>
          <p:nvPr userDrawn="1"/>
        </p:nvSpPr>
        <p:spPr>
          <a:xfrm>
            <a:off x="8886826" y="92869"/>
            <a:ext cx="506413" cy="378619"/>
          </a:xfrm>
          <a:prstGeom prst="rect">
            <a:avLst/>
          </a:prstGeom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EBD98490-5F84-4595-9EF5-96AF6CE4F5FE}" type="slidenum">
              <a:rPr lang="en-US" altLang="de-DE" sz="750" b="1" smtClean="0">
                <a:solidFill>
                  <a:schemeClr val="bg1"/>
                </a:solidFill>
                <a:latin typeface="HelveticaNeue MediumCond"/>
                <a:ea typeface="HelveticaNeue MediumCond"/>
                <a:cs typeface="HelveticaNeue MediumCond"/>
              </a:rPr>
              <a:pPr eaLnBrk="1" hangingPunct="1">
                <a:defRPr/>
              </a:pPr>
              <a:t>‹nr.›</a:t>
            </a:fld>
            <a:endParaRPr lang="en-US" altLang="de-DE" sz="750" b="1">
              <a:solidFill>
                <a:schemeClr val="bg1"/>
              </a:solidFill>
              <a:latin typeface="HelveticaNeue MediumCond"/>
              <a:ea typeface="HelveticaNeue MediumCond"/>
              <a:cs typeface="HelveticaNeue MediumCond"/>
            </a:endParaRPr>
          </a:p>
        </p:txBody>
      </p:sp>
      <p:sp>
        <p:nvSpPr>
          <p:cNvPr id="5" name="TextBox 5"/>
          <p:cNvSpPr txBox="1">
            <a:spLocks noChangeArrowheads="1"/>
          </p:cNvSpPr>
          <p:nvPr userDrawn="1"/>
        </p:nvSpPr>
        <p:spPr bwMode="auto">
          <a:xfrm>
            <a:off x="8590936" y="83344"/>
            <a:ext cx="497503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B02DD17E-D52F-446E-B3B2-0F1A823B6F63}" type="slidenum">
              <a:rPr lang="en-US" altLang="de-DE" sz="750" b="1" smtClean="0">
                <a:solidFill>
                  <a:schemeClr val="bg1"/>
                </a:solidFill>
                <a:latin typeface="Helvetica Neue"/>
              </a:rPr>
              <a:pPr algn="ctr">
                <a:defRPr/>
              </a:pPr>
              <a:t>‹nr.›</a:t>
            </a:fld>
            <a:endParaRPr lang="en-US" altLang="de-DE" sz="750" b="1" dirty="0">
              <a:solidFill>
                <a:schemeClr val="bg1"/>
              </a:solidFill>
              <a:latin typeface="Helvetica Neue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80" y="268357"/>
            <a:ext cx="8573859" cy="373958"/>
          </a:xfrm>
        </p:spPr>
        <p:txBody>
          <a:bodyPr/>
          <a:lstStyle>
            <a:lvl1pPr>
              <a:defRPr baseline="0">
                <a:solidFill>
                  <a:srgbClr val="77777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2000" y="806054"/>
            <a:ext cx="4451350" cy="4081829"/>
          </a:xfrm>
          <a:prstGeom prst="rect">
            <a:avLst/>
          </a:prstGeom>
        </p:spPr>
        <p:txBody>
          <a:bodyPr>
            <a:noAutofit/>
          </a:bodyPr>
          <a:lstStyle>
            <a:lvl1pPr marL="127397" indent="-127397">
              <a:buClr>
                <a:srgbClr val="2F9F48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1pPr>
            <a:lvl2pPr marL="342899" indent="-127397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03644" indent="-133349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901298" indent="-126206">
              <a:buClr>
                <a:schemeClr val="accent2"/>
              </a:buClr>
              <a:buFontTx/>
              <a:buChar char="-"/>
              <a:defRPr sz="1050">
                <a:solidFill>
                  <a:schemeClr val="tx1"/>
                </a:solidFill>
              </a:defRPr>
            </a:lvl4pPr>
            <a:lvl5pPr marL="1289440" indent="-133349">
              <a:buClr>
                <a:schemeClr val="accent2"/>
              </a:buCl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5"/>
          <p:cNvSpPr txBox="1">
            <a:spLocks noChangeArrowheads="1"/>
          </p:cNvSpPr>
          <p:nvPr userDrawn="1"/>
        </p:nvSpPr>
        <p:spPr bwMode="auto">
          <a:xfrm>
            <a:off x="8433882" y="83811"/>
            <a:ext cx="710119" cy="20774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C69C501B-9F85-4DFA-9B02-B5E3557839FF}" type="slidenum">
              <a:rPr lang="en-US" altLang="de-DE" sz="750" b="1" smtClean="0">
                <a:solidFill>
                  <a:schemeClr val="bg2"/>
                </a:solidFill>
                <a:latin typeface="Helvetica Neue"/>
              </a:rPr>
              <a:pPr algn="ctr">
                <a:defRPr/>
              </a:pPr>
              <a:t>‹nr.›</a:t>
            </a:fld>
            <a:endParaRPr lang="en-US" altLang="de-DE" sz="750" b="1" dirty="0">
              <a:solidFill>
                <a:schemeClr val="bg2"/>
              </a:solidFill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3480289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4924" y="267462"/>
            <a:ext cx="7986568" cy="373958"/>
          </a:xfrm>
        </p:spPr>
        <p:txBody>
          <a:bodyPr rIns="91440"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548641" y="891540"/>
            <a:ext cx="8061960" cy="3703320"/>
          </a:xfrm>
          <a:prstGeom prst="rect">
            <a:avLst/>
          </a:prstGeom>
        </p:spPr>
        <p:txBody>
          <a:bodyPr/>
          <a:lstStyle>
            <a:lvl1pPr marL="137160" indent="-137160">
              <a:spcBef>
                <a:spcPts val="450"/>
              </a:spcBef>
              <a:spcAft>
                <a:spcPts val="0"/>
              </a:spcAft>
              <a:buClr>
                <a:srgbClr val="009055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</a:defRPr>
            </a:lvl1pPr>
            <a:lvl2pPr marL="34290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marL="48006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2296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4786884"/>
            <a:ext cx="8297862" cy="3429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4139D5A-09A8-2342-83D1-D4B8AD23E0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2520" y="0"/>
            <a:ext cx="411480" cy="3786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825" b="1" i="0">
                <a:solidFill>
                  <a:schemeClr val="tx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C05CE228-874B-4B88-8E7B-BE8A2097705B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8285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4924" y="267462"/>
            <a:ext cx="7986568" cy="373958"/>
          </a:xfrm>
        </p:spPr>
        <p:txBody>
          <a:bodyPr rIns="91440"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548641" y="891540"/>
            <a:ext cx="3909060" cy="3703320"/>
          </a:xfrm>
          <a:prstGeom prst="rect">
            <a:avLst/>
          </a:prstGeom>
        </p:spPr>
        <p:txBody>
          <a:bodyPr/>
          <a:lstStyle>
            <a:lvl1pPr marL="137160" indent="-137160">
              <a:spcBef>
                <a:spcPts val="450"/>
              </a:spcBef>
              <a:spcAft>
                <a:spcPts val="0"/>
              </a:spcAft>
              <a:buClr>
                <a:srgbClr val="009055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</a:defRPr>
            </a:lvl1pPr>
            <a:lvl2pPr marL="34290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marL="48006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2296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693126" y="891540"/>
            <a:ext cx="3909060" cy="3703320"/>
          </a:xfrm>
          <a:prstGeom prst="rect">
            <a:avLst/>
          </a:prstGeom>
        </p:spPr>
        <p:txBody>
          <a:bodyPr/>
          <a:lstStyle>
            <a:lvl1pPr marL="137160" indent="-137160">
              <a:spcBef>
                <a:spcPts val="450"/>
              </a:spcBef>
              <a:spcAft>
                <a:spcPts val="0"/>
              </a:spcAft>
              <a:buClr>
                <a:srgbClr val="009055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</a:defRPr>
            </a:lvl1pPr>
            <a:lvl2pPr marL="34290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marL="48006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2296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>
            <a:off x="4572000" y="974815"/>
            <a:ext cx="0" cy="356616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4786884"/>
            <a:ext cx="8297862" cy="3429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1382D9A-1663-914D-9E8E-6683C4E511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2520" y="0"/>
            <a:ext cx="411480" cy="3786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825" b="1" i="0">
                <a:solidFill>
                  <a:schemeClr val="tx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C05CE228-874B-4B88-8E7B-BE8A2097705B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3514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3"/>
          <p:cNvSpPr txBox="1">
            <a:spLocks/>
          </p:cNvSpPr>
          <p:nvPr userDrawn="1"/>
        </p:nvSpPr>
        <p:spPr>
          <a:xfrm>
            <a:off x="457200" y="4767739"/>
            <a:ext cx="2133600" cy="272891"/>
          </a:xfrm>
          <a:prstGeom prst="rect">
            <a:avLst/>
          </a:prstGeom>
        </p:spPr>
        <p:txBody>
          <a:bodyPr anchor="ctr"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88D17892-7341-4FDC-9DFE-8A011BBBFBFC}" type="datetimeFigureOut">
              <a:rPr lang="en-US"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3/9/2021</a:t>
            </a:fld>
            <a:endParaRPr lang="en-US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Slide Number Placeholder 5"/>
          <p:cNvSpPr txBox="1">
            <a:spLocks/>
          </p:cNvSpPr>
          <p:nvPr userDrawn="1"/>
        </p:nvSpPr>
        <p:spPr>
          <a:xfrm>
            <a:off x="6553200" y="4767739"/>
            <a:ext cx="2133600" cy="272891"/>
          </a:xfrm>
          <a:prstGeom prst="rect">
            <a:avLst/>
          </a:prstGeom>
        </p:spPr>
        <p:txBody>
          <a:bodyPr anchor="ctr"/>
          <a:lstStyle>
            <a:lvl1pPr>
              <a:defRPr/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815DA40-CC70-4F17-BC74-C03038E0E46C}" type="slidenum">
              <a:rPr lang="en-US"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120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4057650"/>
            <a:ext cx="9144000" cy="109728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50000"/>
                </a:schemeClr>
              </a:gs>
              <a:gs pos="24000">
                <a:schemeClr val="bg1">
                  <a:lumMod val="75000"/>
                </a:schemeClr>
              </a:gs>
              <a:gs pos="53000">
                <a:schemeClr val="bg1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6" name="Picture 4" descr="wireframeXXXXL.png"/>
          <p:cNvPicPr>
            <a:picLocks noChangeAspect="1"/>
          </p:cNvPicPr>
          <p:nvPr userDrawn="1"/>
        </p:nvPicPr>
        <p:blipFill>
          <a:blip r:embed="rId2" cstate="print"/>
          <a:srcRect l="23579"/>
          <a:stretch>
            <a:fillRect/>
          </a:stretch>
        </p:blipFill>
        <p:spPr bwMode="auto">
          <a:xfrm>
            <a:off x="0" y="1275875"/>
            <a:ext cx="3043238" cy="3887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3203576" y="2221707"/>
            <a:ext cx="5400675" cy="40005"/>
          </a:xfrm>
          <a:prstGeom prst="rect">
            <a:avLst/>
          </a:prstGeom>
          <a:solidFill>
            <a:srgbClr val="FF7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9" name="Picture 11" descr="Trend_65_100_CMYK.pn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67626" y="4774883"/>
            <a:ext cx="1008063" cy="207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137174" y="1832357"/>
            <a:ext cx="5323259" cy="324833"/>
          </a:xfrm>
        </p:spPr>
        <p:txBody>
          <a:bodyPr/>
          <a:lstStyle>
            <a:lvl1pPr algn="l"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4924" y="267462"/>
            <a:ext cx="7986568" cy="373958"/>
          </a:xfrm>
        </p:spPr>
        <p:txBody>
          <a:bodyPr rIns="91440"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548641" y="891541"/>
            <a:ext cx="3909060" cy="1753688"/>
          </a:xfrm>
          <a:prstGeom prst="rect">
            <a:avLst/>
          </a:prstGeom>
        </p:spPr>
        <p:txBody>
          <a:bodyPr/>
          <a:lstStyle>
            <a:lvl1pPr marL="137160" indent="-137160">
              <a:spcBef>
                <a:spcPts val="450"/>
              </a:spcBef>
              <a:spcAft>
                <a:spcPts val="0"/>
              </a:spcAft>
              <a:buClr>
                <a:srgbClr val="009055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</a:defRPr>
            </a:lvl1pPr>
            <a:lvl2pPr marL="34290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marL="48006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2296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4"/>
          </p:nvPr>
        </p:nvSpPr>
        <p:spPr>
          <a:xfrm>
            <a:off x="4693126" y="891541"/>
            <a:ext cx="3909060" cy="1753688"/>
          </a:xfrm>
          <a:prstGeom prst="rect">
            <a:avLst/>
          </a:prstGeom>
        </p:spPr>
        <p:txBody>
          <a:bodyPr/>
          <a:lstStyle>
            <a:lvl1pPr marL="137160" indent="-137160">
              <a:spcBef>
                <a:spcPts val="450"/>
              </a:spcBef>
              <a:spcAft>
                <a:spcPts val="0"/>
              </a:spcAft>
              <a:buClr>
                <a:srgbClr val="009055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</a:defRPr>
            </a:lvl1pPr>
            <a:lvl2pPr marL="34290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marL="48006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2296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auto">
          <a:xfrm flipH="1">
            <a:off x="631201" y="2757895"/>
            <a:ext cx="7898606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548641" y="2850969"/>
            <a:ext cx="3909060" cy="1753688"/>
          </a:xfrm>
          <a:prstGeom prst="rect">
            <a:avLst/>
          </a:prstGeom>
        </p:spPr>
        <p:txBody>
          <a:bodyPr/>
          <a:lstStyle>
            <a:lvl1pPr marL="137160" indent="-137160">
              <a:spcBef>
                <a:spcPts val="450"/>
              </a:spcBef>
              <a:spcAft>
                <a:spcPts val="0"/>
              </a:spcAft>
              <a:buClr>
                <a:srgbClr val="009055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</a:defRPr>
            </a:lvl1pPr>
            <a:lvl2pPr marL="34290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marL="48006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2296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6"/>
          </p:nvPr>
        </p:nvSpPr>
        <p:spPr>
          <a:xfrm>
            <a:off x="4693126" y="2850969"/>
            <a:ext cx="3909060" cy="1753688"/>
          </a:xfrm>
          <a:prstGeom prst="rect">
            <a:avLst/>
          </a:prstGeom>
        </p:spPr>
        <p:txBody>
          <a:bodyPr/>
          <a:lstStyle>
            <a:lvl1pPr marL="137160" indent="-137160">
              <a:spcBef>
                <a:spcPts val="450"/>
              </a:spcBef>
              <a:spcAft>
                <a:spcPts val="0"/>
              </a:spcAft>
              <a:buClr>
                <a:srgbClr val="009055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</a:defRPr>
            </a:lvl1pPr>
            <a:lvl2pPr marL="34290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marL="48006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68580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05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22960" indent="-137160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4572000" y="974815"/>
            <a:ext cx="0" cy="356616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236538" y="4786884"/>
            <a:ext cx="8297862" cy="3429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CE1AC79-726F-9145-B538-60620ABF77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2520" y="0"/>
            <a:ext cx="411480" cy="3786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825" b="1" i="0">
                <a:solidFill>
                  <a:schemeClr val="tx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C05CE228-874B-4B88-8E7B-BE8A2097705B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0892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924" y="267463"/>
            <a:ext cx="7892502" cy="37385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4786884"/>
            <a:ext cx="8297862" cy="3429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A5C081-C39C-9B43-B40A-9AB521CB79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2520" y="0"/>
            <a:ext cx="411480" cy="3786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825" b="1" i="0">
                <a:solidFill>
                  <a:schemeClr val="tx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C05CE228-874B-4B88-8E7B-BE8A2097705B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94109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13078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11458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00816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89571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134442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342913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823707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39522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3203576" y="2221707"/>
            <a:ext cx="5400675" cy="40005"/>
          </a:xfrm>
          <a:prstGeom prst="rect">
            <a:avLst/>
          </a:prstGeom>
          <a:solidFill>
            <a:srgbClr val="FF7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137174" y="1832357"/>
            <a:ext cx="5323259" cy="324833"/>
          </a:xfrm>
        </p:spPr>
        <p:txBody>
          <a:bodyPr/>
          <a:lstStyle>
            <a:lvl1pPr algn="l"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5559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430967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5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3845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75820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kg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759A1C-4C33-5342-ABC4-B75C97CCD9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6308" y="257176"/>
            <a:ext cx="4285692" cy="17397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49"/>
              </a:lnSpc>
              <a:spcBef>
                <a:spcPts val="0"/>
              </a:spcBef>
              <a:buFontTx/>
              <a:buNone/>
              <a:defRPr sz="2249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249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49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49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49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  <a:p>
            <a:pPr lvl="0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1BBF61D-ED7B-0F4C-A4B5-D0C389A323AE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7916473" y="4872659"/>
            <a:ext cx="736460" cy="130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319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89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Bkg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759A1C-4C33-5342-ABC4-B75C97CCD9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6308" y="257176"/>
            <a:ext cx="4285692" cy="17397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49"/>
              </a:lnSpc>
              <a:spcBef>
                <a:spcPts val="0"/>
              </a:spcBef>
              <a:buFontTx/>
              <a:buNone/>
              <a:defRPr sz="2249" b="1" cap="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249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49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49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49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  <a:p>
            <a:pPr lvl="0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61BBF61D-ED7B-0F4C-A4B5-D0C389A323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16473" y="4872659"/>
            <a:ext cx="736460" cy="130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004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89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kg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759A1C-4C33-5342-ABC4-B75C97CCD9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6308" y="257176"/>
            <a:ext cx="4285692" cy="173971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249"/>
              </a:lnSpc>
              <a:spcBef>
                <a:spcPts val="0"/>
              </a:spcBef>
              <a:buFontTx/>
              <a:buNone/>
              <a:defRPr sz="22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249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49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49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49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  <a:p>
            <a:pPr lvl="0"/>
            <a:r>
              <a:rPr lang="en-US"/>
              <a:t>Edit Master text styles</a:t>
            </a:r>
          </a:p>
          <a:p>
            <a:pPr lvl="0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E298651-D590-764F-90BE-77B07B88AB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25870" y="4794894"/>
            <a:ext cx="908231" cy="285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037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389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1371601"/>
            <a:ext cx="4029075" cy="30289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4860123"/>
            <a:ext cx="9144000" cy="178213"/>
          </a:xfrm>
        </p:spPr>
        <p:txBody>
          <a:bodyPr/>
          <a:lstStyle>
            <a:lvl1pPr>
              <a:defRPr lang="en-US" sz="525" b="0" i="0" u="none">
                <a:solidFill>
                  <a:srgbClr val="7F7F7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Honeywell Intern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3450" y="1371600"/>
            <a:ext cx="4029075" cy="302895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4524376"/>
            <a:ext cx="9144000" cy="24764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5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6836717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87218-A021-DC40-AAD7-3F3D1FDA0D4D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1E992D-94CC-B64C-9610-5BFD8C6230B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73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87218-A021-DC40-AAD7-3F3D1FDA0D4D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1E992D-94CC-B64C-9610-5BFD8C6230B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28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79638"/>
            <a:ext cx="7772400" cy="112553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87218-A021-DC40-AAD7-3F3D1FDA0D4D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1E992D-94CC-B64C-9610-5BFD8C6230B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371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  <a:latin typeface="Arial"/>
                <a:cs typeface="Arial"/>
              </a:defRPr>
            </a:lvl1pPr>
            <a:lvl2pPr marL="180975" indent="-180975">
              <a:buFont typeface="Arial"/>
              <a:buChar char="•"/>
              <a:defRPr sz="1600">
                <a:solidFill>
                  <a:srgbClr val="7F7F7F"/>
                </a:solidFill>
              </a:defRPr>
            </a:lvl2pPr>
            <a:lvl3pPr marL="363538" indent="-182563">
              <a:buFont typeface="Lucida Grande"/>
              <a:buChar char="–"/>
              <a:defRPr sz="1600">
                <a:solidFill>
                  <a:srgbClr val="7F7F7F"/>
                </a:solidFill>
              </a:defRPr>
            </a:lvl3pPr>
            <a:lvl4pPr marL="534988" indent="-171450">
              <a:buFont typeface="Lucida Grande"/>
              <a:buChar char="-"/>
              <a:defRPr sz="1600">
                <a:solidFill>
                  <a:srgbClr val="7F7F7F"/>
                </a:solidFill>
              </a:defRPr>
            </a:lvl4pPr>
            <a:lvl5pPr marL="717550" indent="-182563">
              <a:defRPr sz="1600">
                <a:solidFill>
                  <a:srgbClr val="7F7F7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 marL="0" indent="0">
              <a:buNone/>
              <a:defRPr sz="1800"/>
            </a:lvl1pPr>
            <a:lvl2pPr marL="180975" indent="-180975">
              <a:buFont typeface="Arial"/>
              <a:buChar char="•"/>
              <a:defRPr sz="1600">
                <a:solidFill>
                  <a:srgbClr val="7F7F7F"/>
                </a:solidFill>
              </a:defRPr>
            </a:lvl2pPr>
            <a:lvl3pPr marL="363538" indent="-182563">
              <a:buFont typeface="Lucida Grande"/>
              <a:buChar char="-"/>
              <a:defRPr sz="1600">
                <a:solidFill>
                  <a:srgbClr val="7F7F7F"/>
                </a:solidFill>
              </a:defRPr>
            </a:lvl3pPr>
            <a:lvl4pPr marL="534988" indent="-171450">
              <a:buFont typeface="Lucida Grande"/>
              <a:buChar char="-"/>
              <a:defRPr sz="1600">
                <a:solidFill>
                  <a:srgbClr val="7F7F7F"/>
                </a:solidFill>
              </a:defRPr>
            </a:lvl4pPr>
            <a:lvl5pPr marL="717550" indent="-182563">
              <a:defRPr sz="1600">
                <a:solidFill>
                  <a:srgbClr val="7F7F7F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87218-A021-DC40-AAD7-3F3D1FDA0D4D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1E992D-94CC-B64C-9610-5BFD8C6230B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025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87218-A021-DC40-AAD7-3F3D1FDA0D4D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1E992D-94CC-B64C-9610-5BFD8C6230B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856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87218-A021-DC40-AAD7-3F3D1FDA0D4D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1E992D-94CC-B64C-9610-5BFD8C6230B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605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87218-A021-DC40-AAD7-3F3D1FDA0D4D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1E992D-94CC-B64C-9610-5BFD8C6230B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595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87218-A021-DC40-AAD7-3F3D1FDA0D4D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1E992D-94CC-B64C-9610-5BFD8C6230B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909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87218-A021-DC40-AAD7-3F3D1FDA0D4D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1E992D-94CC-B64C-9610-5BFD8C6230B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081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87218-A021-DC40-AAD7-3F3D1FDA0D4D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1E992D-94CC-B64C-9610-5BFD8C6230B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716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D87218-A021-DC40-AAD7-3F3D1FDA0D4D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1E992D-94CC-B64C-9610-5BFD8C6230B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30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 bwMode="auto">
          <a:xfrm>
            <a:off x="4506516" y="747712"/>
            <a:ext cx="0" cy="400050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/>
            <a:ext uri="{AF507438-7753-43e0-B8FC-AC1667EBCBE1}"/>
          </a:extLst>
        </p:spPr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35925" y="268357"/>
            <a:ext cx="7874939" cy="3739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536095" y="754380"/>
            <a:ext cx="3870228" cy="3981450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>
                <a:latin typeface="+mn-lt"/>
              </a:defRPr>
            </a:lvl1pPr>
            <a:lvl2pPr>
              <a:buClr>
                <a:schemeClr val="accent3"/>
              </a:buClr>
              <a:defRPr>
                <a:latin typeface="+mn-lt"/>
              </a:defRPr>
            </a:lvl2pPr>
            <a:lvl3pPr>
              <a:buClr>
                <a:schemeClr val="accent3"/>
              </a:buClr>
              <a:defRPr>
                <a:latin typeface="+mn-lt"/>
              </a:defRPr>
            </a:lvl3pPr>
            <a:lvl4pPr marL="1200150" indent="-171450">
              <a:buClr>
                <a:schemeClr val="accent3"/>
              </a:buClr>
              <a:buFont typeface="Arial" panose="020B0604020202020204" pitchFamily="34" charset="0"/>
              <a:buChar char="-"/>
              <a:defRPr sz="105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05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5"/>
          </p:nvPr>
        </p:nvSpPr>
        <p:spPr>
          <a:xfrm>
            <a:off x="4612834" y="754380"/>
            <a:ext cx="3798030" cy="398145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 marL="1200150" indent="-171450">
              <a:buClr>
                <a:schemeClr val="accent3"/>
              </a:buClr>
              <a:buFont typeface="Arial" panose="020B0604020202020204" pitchFamily="34" charset="0"/>
              <a:buChar char="-"/>
              <a:defRPr sz="1050">
                <a:latin typeface="+mn-lt"/>
                <a:cs typeface="Arial" panose="020B0604020202020204" pitchFamily="34" charset="0"/>
              </a:defRPr>
            </a:lvl4pPr>
            <a:lvl5pPr>
              <a:buClr>
                <a:schemeClr val="accent3"/>
              </a:buClr>
              <a:defRPr sz="105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EA6D5EF7-DED5-4E62-B284-B33ADE4127B4}" type="slidenum">
              <a:rPr lang="en-US">
                <a:solidFill>
                  <a:srgbClr val="FFFFFF"/>
                </a:solidFill>
              </a:rPr>
              <a:pPr/>
              <a:t>‹nr.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2151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60338" y="4773216"/>
            <a:ext cx="8983662" cy="370284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4773217"/>
            <a:ext cx="8688388" cy="378619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155576" y="4612482"/>
            <a:ext cx="1923925" cy="173124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sz="525" dirty="0">
                <a:solidFill>
                  <a:srgbClr val="707070"/>
                </a:solidFill>
                <a:cs typeface="Arial" panose="020B0604020202020204" pitchFamily="34" charset="0"/>
              </a:rPr>
              <a:t>© 2015 by Honeywell International Inc. All rights reserved.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14578" y="258420"/>
            <a:ext cx="8123010" cy="38389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14350" y="806055"/>
            <a:ext cx="8002588" cy="3794285"/>
          </a:xfrm>
          <a:prstGeom prst="rect">
            <a:avLst/>
          </a:prstGeom>
        </p:spPr>
        <p:txBody>
          <a:bodyPr>
            <a:normAutofit/>
          </a:bodyPr>
          <a:lstStyle>
            <a:lvl2pPr marL="342900" indent="-127397">
              <a:defRPr/>
            </a:lvl2pPr>
            <a:lvl3pPr marL="603647" indent="-133350">
              <a:defRPr/>
            </a:lvl3pPr>
            <a:lvl4pPr marL="901304" indent="-126206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050"/>
            </a:lvl4pPr>
            <a:lvl5pPr marL="1289447" indent="-133350">
              <a:buClr>
                <a:schemeClr val="tx1">
                  <a:lumMod val="50000"/>
                  <a:lumOff val="50000"/>
                </a:schemeClr>
              </a:buCl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236538" y="4788458"/>
            <a:ext cx="8297862" cy="3429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273FC1-D5DA-4D06-93D9-901323D31629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2843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14579" y="268357"/>
            <a:ext cx="8002359" cy="457199"/>
          </a:xfr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4351" y="806053"/>
            <a:ext cx="2358059" cy="39814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342900" indent="-127397"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 marL="603647" indent="-133350"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 marL="901304" indent="-126206">
              <a:buClr>
                <a:schemeClr val="accent2"/>
              </a:buClr>
              <a:buFontTx/>
              <a:buChar char="-"/>
              <a:defRPr sz="1050">
                <a:solidFill>
                  <a:schemeClr val="tx1"/>
                </a:solidFill>
              </a:defRPr>
            </a:lvl4pPr>
            <a:lvl5pPr marL="1289447" indent="-133350">
              <a:buClr>
                <a:schemeClr val="accent2"/>
              </a:buCl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30DE40-C00D-4297-B58E-C788544720A9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0353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e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3225" y="267892"/>
            <a:ext cx="7892502" cy="3738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8182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14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0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05740"/>
            <a:ext cx="822960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0"/>
            <a:ext cx="8229600" cy="3394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1028" name="Picture 11" descr="Trend_65_100_CMYK.png"/>
          <p:cNvPicPr>
            <a:picLocks noChangeAspect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667626" y="4774883"/>
            <a:ext cx="1008063" cy="207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28" r:id="rId5"/>
    <p:sldLayoutId id="2147483733" r:id="rId6"/>
    <p:sldLayoutId id="2147483754" r:id="rId7"/>
    <p:sldLayoutId id="2147483758" r:id="rId8"/>
    <p:sldLayoutId id="2147483769" r:id="rId9"/>
    <p:sldLayoutId id="2147483770" r:id="rId10"/>
    <p:sldLayoutId id="2147483771" r:id="rId11"/>
    <p:sldLayoutId id="2147483832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47920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F47920"/>
        </a:buClr>
        <a:buFont typeface="Arial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F47920"/>
        </a:buClr>
        <a:buFont typeface="Arial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F47920"/>
        </a:buClr>
        <a:buFont typeface="Arial" charset="0"/>
        <a:buChar char="•"/>
        <a:defRPr sz="1400" i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47920"/>
        </a:buClr>
        <a:buFont typeface="Arial" charset="0"/>
        <a:buChar char="•"/>
        <a:defRPr sz="1400" i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3414" y="141685"/>
            <a:ext cx="7958137" cy="5143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23900" y="897732"/>
            <a:ext cx="7467600" cy="355996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3108" name="Dividing Line"/>
          <p:cNvSpPr>
            <a:spLocks noChangeShapeType="1"/>
          </p:cNvSpPr>
          <p:nvPr/>
        </p:nvSpPr>
        <p:spPr bwMode="auto">
          <a:xfrm>
            <a:off x="838200" y="681038"/>
            <a:ext cx="7772400" cy="0"/>
          </a:xfrm>
          <a:prstGeom prst="line">
            <a:avLst/>
          </a:prstGeom>
          <a:noFill/>
          <a:ln w="76200">
            <a:solidFill>
              <a:srgbClr val="EE960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en-US">
              <a:cs typeface="+mn-cs"/>
            </a:endParaRPr>
          </a:p>
        </p:txBody>
      </p:sp>
      <p:sp>
        <p:nvSpPr>
          <p:cNvPr id="30311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838450" y="4866085"/>
            <a:ext cx="1905000" cy="190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750">
                <a:latin typeface="+mn-lt"/>
                <a:cs typeface="+mn-cs"/>
              </a:defRPr>
            </a:lvl1pPr>
          </a:lstStyle>
          <a:p>
            <a:pPr>
              <a:defRPr/>
            </a:pPr>
            <a:fld id="{024CBAE6-39D9-4C99-963F-545DAA64F8A4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pic>
        <p:nvPicPr>
          <p:cNvPr id="1030" name="Picture 15" descr="Trend_021C_sm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572375" y="4854178"/>
            <a:ext cx="1036638" cy="1369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44194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5" r:id="rId14"/>
    <p:sldLayoutId id="2147483757" r:id="rId15"/>
  </p:sldLayoutIdLst>
  <p:transition/>
  <p:hf hdr="0" ftr="0" dt="0"/>
  <p:txStyles>
    <p:titleStyle>
      <a:lvl1pPr marL="142875" indent="-71438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j-lt"/>
          <a:ea typeface="+mj-ea"/>
          <a:cs typeface="+mj-cs"/>
        </a:defRPr>
      </a:lvl1pPr>
      <a:lvl2pPr marL="142875" indent="-71438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Arial" charset="0"/>
        </a:defRPr>
      </a:lvl2pPr>
      <a:lvl3pPr marL="142875" indent="-71438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Arial" charset="0"/>
        </a:defRPr>
      </a:lvl3pPr>
      <a:lvl4pPr marL="142875" indent="-71438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Arial" charset="0"/>
        </a:defRPr>
      </a:lvl4pPr>
      <a:lvl5pPr marL="142875" indent="-71438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Arial" charset="0"/>
        </a:defRPr>
      </a:lvl5pPr>
      <a:lvl6pPr marL="485775" indent="-71438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Arial" charset="0"/>
        </a:defRPr>
      </a:lvl6pPr>
      <a:lvl7pPr marL="828675" indent="-71438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Arial" charset="0"/>
        </a:defRPr>
      </a:lvl7pPr>
      <a:lvl8pPr marL="1171575" indent="-71438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Arial" charset="0"/>
        </a:defRPr>
      </a:lvl8pPr>
      <a:lvl9pPr marL="1514475" indent="-71438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Arial" charset="0"/>
        </a:defRPr>
      </a:lvl9pPr>
    </p:titleStyle>
    <p:bodyStyle>
      <a:lvl1pPr marL="214313" indent="-214313" algn="l" rtl="0" eaLnBrk="0" fontAlgn="base" hangingPunct="0">
        <a:lnSpc>
          <a:spcPct val="150000"/>
        </a:lnSpc>
        <a:spcBef>
          <a:spcPct val="30000"/>
        </a:spcBef>
        <a:spcAft>
          <a:spcPct val="0"/>
        </a:spcAft>
        <a:buClr>
          <a:srgbClr val="EE9601"/>
        </a:buClr>
        <a:buSzPct val="100000"/>
        <a:buFont typeface="Wingdings" pitchFamily="2" charset="2"/>
        <a:buChar char="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spcBef>
          <a:spcPct val="30000"/>
        </a:spcBef>
        <a:spcAft>
          <a:spcPct val="0"/>
        </a:spcAft>
        <a:buClr>
          <a:srgbClr val="EE9601"/>
        </a:buClr>
        <a:buSzPct val="100000"/>
        <a:buFont typeface="Wingdings" pitchFamily="2" charset="2"/>
        <a:buChar char=""/>
        <a:defRPr sz="2100">
          <a:solidFill>
            <a:schemeClr val="tx1"/>
          </a:solidFill>
          <a:latin typeface="+mn-lt"/>
        </a:defRPr>
      </a:lvl2pPr>
      <a:lvl3pPr marL="857250" indent="-171450" algn="l" rtl="0" eaLnBrk="0" fontAlgn="base" hangingPunct="0">
        <a:spcBef>
          <a:spcPct val="30000"/>
        </a:spcBef>
        <a:spcAft>
          <a:spcPct val="0"/>
        </a:spcAft>
        <a:buClr>
          <a:srgbClr val="EE9601"/>
        </a:buClr>
        <a:buSzPct val="100000"/>
        <a:buFont typeface="Wingdings" pitchFamily="2" charset="2"/>
        <a:buChar char=""/>
        <a:defRPr sz="1200">
          <a:solidFill>
            <a:schemeClr val="tx1"/>
          </a:solidFill>
          <a:latin typeface="+mn-lt"/>
        </a:defRPr>
      </a:lvl3pPr>
      <a:lvl4pPr marL="1157288" indent="-128588" algn="l" rtl="0" eaLnBrk="0" fontAlgn="base" hangingPunct="0">
        <a:spcBef>
          <a:spcPct val="30000"/>
        </a:spcBef>
        <a:spcAft>
          <a:spcPct val="0"/>
        </a:spcAft>
        <a:buClr>
          <a:srgbClr val="EE9601"/>
        </a:buClr>
        <a:buSzPct val="100000"/>
        <a:buFont typeface="Wingdings" pitchFamily="2" charset="2"/>
        <a:buChar char=""/>
        <a:defRPr sz="1050">
          <a:solidFill>
            <a:schemeClr val="tx1"/>
          </a:solidFill>
          <a:latin typeface="+mn-lt"/>
        </a:defRPr>
      </a:lvl4pPr>
      <a:lvl5pPr marL="1500188" indent="-128588" algn="l" rtl="0" eaLnBrk="0" fontAlgn="base" hangingPunct="0">
        <a:spcBef>
          <a:spcPct val="30000"/>
        </a:spcBef>
        <a:spcAft>
          <a:spcPct val="0"/>
        </a:spcAft>
        <a:buClr>
          <a:srgbClr val="EE9601"/>
        </a:buClr>
        <a:buSzPct val="100000"/>
        <a:buFont typeface="Wingdings" pitchFamily="2" charset="2"/>
        <a:buChar char=""/>
        <a:defRPr sz="900">
          <a:solidFill>
            <a:schemeClr val="tx1"/>
          </a:solidFill>
          <a:latin typeface="+mn-lt"/>
        </a:defRPr>
      </a:lvl5pPr>
      <a:lvl6pPr marL="1843088" indent="-128588" algn="l" rtl="0" eaLnBrk="0" fontAlgn="base" hangingPunct="0">
        <a:spcBef>
          <a:spcPct val="30000"/>
        </a:spcBef>
        <a:spcAft>
          <a:spcPct val="0"/>
        </a:spcAft>
        <a:buClr>
          <a:srgbClr val="EE9601"/>
        </a:buClr>
        <a:buSzPct val="100000"/>
        <a:buFont typeface="Wingdings" pitchFamily="2" charset="2"/>
        <a:buChar char=""/>
        <a:defRPr sz="900">
          <a:solidFill>
            <a:schemeClr val="tx1"/>
          </a:solidFill>
          <a:latin typeface="+mn-lt"/>
        </a:defRPr>
      </a:lvl6pPr>
      <a:lvl7pPr marL="2185988" indent="-128588" algn="l" rtl="0" eaLnBrk="0" fontAlgn="base" hangingPunct="0">
        <a:spcBef>
          <a:spcPct val="30000"/>
        </a:spcBef>
        <a:spcAft>
          <a:spcPct val="0"/>
        </a:spcAft>
        <a:buClr>
          <a:srgbClr val="EE9601"/>
        </a:buClr>
        <a:buSzPct val="100000"/>
        <a:buFont typeface="Wingdings" pitchFamily="2" charset="2"/>
        <a:buChar char=""/>
        <a:defRPr sz="900">
          <a:solidFill>
            <a:schemeClr val="tx1"/>
          </a:solidFill>
          <a:latin typeface="+mn-lt"/>
        </a:defRPr>
      </a:lvl7pPr>
      <a:lvl8pPr marL="2528888" indent="-128588" algn="l" rtl="0" eaLnBrk="0" fontAlgn="base" hangingPunct="0">
        <a:spcBef>
          <a:spcPct val="30000"/>
        </a:spcBef>
        <a:spcAft>
          <a:spcPct val="0"/>
        </a:spcAft>
        <a:buClr>
          <a:srgbClr val="EE9601"/>
        </a:buClr>
        <a:buSzPct val="100000"/>
        <a:buFont typeface="Wingdings" pitchFamily="2" charset="2"/>
        <a:buChar char=""/>
        <a:defRPr sz="900">
          <a:solidFill>
            <a:schemeClr val="tx1"/>
          </a:solidFill>
          <a:latin typeface="+mn-lt"/>
        </a:defRPr>
      </a:lvl8pPr>
      <a:lvl9pPr marL="2871788" indent="-128588" algn="l" rtl="0" eaLnBrk="0" fontAlgn="base" hangingPunct="0">
        <a:spcBef>
          <a:spcPct val="30000"/>
        </a:spcBef>
        <a:spcAft>
          <a:spcPct val="0"/>
        </a:spcAft>
        <a:buClr>
          <a:srgbClr val="EE9601"/>
        </a:buClr>
        <a:buSzPct val="100000"/>
        <a:buFont typeface="Wingdings" pitchFamily="2" charset="2"/>
        <a:buChar char=""/>
        <a:defRPr sz="9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oup 28"/>
          <p:cNvGrpSpPr/>
          <p:nvPr userDrawn="1"/>
        </p:nvGrpSpPr>
        <p:grpSpPr>
          <a:xfrm>
            <a:off x="-235267" y="-233325"/>
            <a:ext cx="9610963" cy="5608400"/>
            <a:chOff x="-313689" y="-311099"/>
            <a:chExt cx="12814617" cy="7477866"/>
          </a:xfrm>
        </p:grpSpPr>
        <p:grpSp>
          <p:nvGrpSpPr>
            <p:cNvPr id="30" name="Group 29"/>
            <p:cNvGrpSpPr/>
            <p:nvPr userDrawn="1"/>
          </p:nvGrpSpPr>
          <p:grpSpPr>
            <a:xfrm>
              <a:off x="-313689" y="1297123"/>
              <a:ext cx="182881" cy="4762033"/>
              <a:chOff x="-186689" y="1297123"/>
              <a:chExt cx="182881" cy="4762033"/>
            </a:xfrm>
          </p:grpSpPr>
          <p:cxnSp>
            <p:nvCxnSpPr>
              <p:cNvPr id="40" name="Straight Connector 39"/>
              <p:cNvCxnSpPr>
                <a:cxnSpLocks/>
              </p:cNvCxnSpPr>
              <p:nvPr userDrawn="1"/>
            </p:nvCxnSpPr>
            <p:spPr>
              <a:xfrm rot="16200000">
                <a:off x="-95248" y="5967716"/>
                <a:ext cx="0" cy="182880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/>
              <p:cNvCxnSpPr>
                <a:cxnSpLocks/>
              </p:cNvCxnSpPr>
              <p:nvPr userDrawn="1"/>
            </p:nvCxnSpPr>
            <p:spPr>
              <a:xfrm rot="16200000">
                <a:off x="-95249" y="1205683"/>
                <a:ext cx="0" cy="182880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1" name="Group 30"/>
            <p:cNvGrpSpPr/>
            <p:nvPr userDrawn="1"/>
          </p:nvGrpSpPr>
          <p:grpSpPr>
            <a:xfrm>
              <a:off x="833437" y="-311099"/>
              <a:ext cx="10529888" cy="182880"/>
              <a:chOff x="833437" y="-184099"/>
              <a:chExt cx="10529888" cy="182880"/>
            </a:xfrm>
          </p:grpSpPr>
          <p:cxnSp>
            <p:nvCxnSpPr>
              <p:cNvPr id="38" name="Straight Connector 37"/>
              <p:cNvCxnSpPr/>
              <p:nvPr userDrawn="1"/>
            </p:nvCxnSpPr>
            <p:spPr>
              <a:xfrm>
                <a:off x="11363325" y="-184099"/>
                <a:ext cx="0" cy="182880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>
              <a:xfrm>
                <a:off x="833437" y="-184099"/>
                <a:ext cx="0" cy="182880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2" name="Group 31"/>
            <p:cNvGrpSpPr/>
            <p:nvPr userDrawn="1"/>
          </p:nvGrpSpPr>
          <p:grpSpPr>
            <a:xfrm>
              <a:off x="12318047" y="1297123"/>
              <a:ext cx="182881" cy="4762033"/>
              <a:chOff x="-186689" y="1297123"/>
              <a:chExt cx="182881" cy="4762033"/>
            </a:xfrm>
          </p:grpSpPr>
          <p:cxnSp>
            <p:nvCxnSpPr>
              <p:cNvPr id="36" name="Straight Connector 35"/>
              <p:cNvCxnSpPr>
                <a:cxnSpLocks/>
              </p:cNvCxnSpPr>
              <p:nvPr userDrawn="1"/>
            </p:nvCxnSpPr>
            <p:spPr>
              <a:xfrm rot="16200000">
                <a:off x="-95248" y="5967716"/>
                <a:ext cx="0" cy="182880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>
                <a:cxnSpLocks/>
              </p:cNvCxnSpPr>
              <p:nvPr userDrawn="1"/>
            </p:nvCxnSpPr>
            <p:spPr>
              <a:xfrm rot="16200000">
                <a:off x="-95249" y="1205683"/>
                <a:ext cx="0" cy="182880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oup 32"/>
            <p:cNvGrpSpPr/>
            <p:nvPr userDrawn="1"/>
          </p:nvGrpSpPr>
          <p:grpSpPr>
            <a:xfrm>
              <a:off x="833437" y="6983887"/>
              <a:ext cx="10529888" cy="182880"/>
              <a:chOff x="833437" y="-184099"/>
              <a:chExt cx="10529888" cy="182880"/>
            </a:xfrm>
          </p:grpSpPr>
          <p:cxnSp>
            <p:nvCxnSpPr>
              <p:cNvPr id="34" name="Straight Connector 33"/>
              <p:cNvCxnSpPr/>
              <p:nvPr userDrawn="1"/>
            </p:nvCxnSpPr>
            <p:spPr>
              <a:xfrm>
                <a:off x="11363325" y="-184099"/>
                <a:ext cx="0" cy="182880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 userDrawn="1"/>
            </p:nvCxnSpPr>
            <p:spPr>
              <a:xfrm>
                <a:off x="833437" y="-184099"/>
                <a:ext cx="0" cy="182880"/>
              </a:xfrm>
              <a:prstGeom prst="line">
                <a:avLst/>
              </a:prstGeom>
              <a:ln w="3175" cmpd="sng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075" name="Title Placeholder 1"/>
          <p:cNvSpPr>
            <a:spLocks noGrp="1"/>
          </p:cNvSpPr>
          <p:nvPr>
            <p:ph type="title"/>
          </p:nvPr>
        </p:nvSpPr>
        <p:spPr bwMode="auto">
          <a:xfrm>
            <a:off x="534592" y="267892"/>
            <a:ext cx="7860506" cy="373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1" name="Rectangle 23"/>
          <p:cNvSpPr>
            <a:spLocks noChangeArrowheads="1"/>
          </p:cNvSpPr>
          <p:nvPr userDrawn="1"/>
        </p:nvSpPr>
        <p:spPr bwMode="auto">
          <a:xfrm>
            <a:off x="3257217" y="4621529"/>
            <a:ext cx="2642070" cy="173124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525" dirty="0">
                <a:solidFill>
                  <a:schemeClr val="tx1"/>
                </a:solidFill>
                <a:cs typeface="Arial" panose="020B0604020202020204" pitchFamily="34" charset="0"/>
              </a:rPr>
              <a:t>Honeywell Confidential - © 2018 by Honeywell International Inc. All rights reserved.</a:t>
            </a:r>
          </a:p>
        </p:txBody>
      </p:sp>
      <p:sp>
        <p:nvSpPr>
          <p:cNvPr id="12" name="Round Single Corner Rectangle 11"/>
          <p:cNvSpPr/>
          <p:nvPr userDrawn="1"/>
        </p:nvSpPr>
        <p:spPr>
          <a:xfrm>
            <a:off x="0" y="4764882"/>
            <a:ext cx="9144000" cy="37861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accent6">
                  <a:lumMod val="85000"/>
                </a:schemeClr>
              </a:solidFill>
            </a:endParaRPr>
          </a:p>
        </p:txBody>
      </p:sp>
      <p:sp>
        <p:nvSpPr>
          <p:cNvPr id="21" name="Round Single Corner Rectangle 11">
            <a:extLst>
              <a:ext uri="{FF2B5EF4-FFF2-40B4-BE49-F238E27FC236}">
                <a16:creationId xmlns:a16="http://schemas.microsoft.com/office/drawing/2014/main" id="{1D8A4F05-09F6-B546-AA23-3B77D94F5A35}"/>
              </a:ext>
            </a:extLst>
          </p:cNvPr>
          <p:cNvSpPr/>
          <p:nvPr userDrawn="1"/>
        </p:nvSpPr>
        <p:spPr>
          <a:xfrm>
            <a:off x="8732520" y="267891"/>
            <a:ext cx="411480" cy="34289"/>
          </a:xfrm>
          <a:prstGeom prst="round1Rect">
            <a:avLst>
              <a:gd name="adj" fmla="val 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chemeClr val="accent6">
                  <a:lumMod val="85000"/>
                </a:schemeClr>
              </a:solidFill>
            </a:endParaRP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507C2871-F15B-DC4F-9C76-7706BBF888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2520" y="0"/>
            <a:ext cx="411480" cy="3786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825" b="1" i="0">
                <a:solidFill>
                  <a:schemeClr val="tx1"/>
                </a:solidFill>
                <a:latin typeface="+mn-lt"/>
                <a:cs typeface="HelveticaNeue MediumCond"/>
              </a:defRPr>
            </a:lvl1pPr>
          </a:lstStyle>
          <a:p>
            <a:pPr>
              <a:defRPr/>
            </a:pPr>
            <a:fld id="{C05CE228-874B-4B88-8E7B-BE8A2097705B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706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</p:sldLayoutIdLst>
  <p:hf hdr="0" ftr="0" dt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defRPr lang="en-US" sz="2100" b="1" kern="1200" dirty="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algn="l" defTabSz="342900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algn="l" defTabSz="342900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algn="l" defTabSz="342900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algn="l" defTabSz="342900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342900" algn="l" defTabSz="342900" rtl="0" fontAlgn="base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685800" algn="l" defTabSz="342900" rtl="0" fontAlgn="base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028700" algn="l" defTabSz="342900" rtl="0" fontAlgn="base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371600" algn="l" defTabSz="342900" rtl="0" fontAlgn="base"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27397" indent="-127397" algn="l" defTabSz="342900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470297" indent="-127397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-"/>
        <a:defRPr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813197" indent="-127397" algn="l" defTabSz="342900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SzPct val="90000"/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12001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Helvetica Neue"/>
          <a:ea typeface="Helvetica Neue"/>
          <a:cs typeface="Helvetica Neue"/>
        </a:defRPr>
      </a:lvl4pPr>
      <a:lvl5pPr marL="1543050" indent="-171450" algn="l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Helvetica Neue"/>
          <a:ea typeface="Helvetica Neue"/>
          <a:cs typeface="Helvetica Neue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1133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31" r:id="rId15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Honeywell Sans TT Black" panose="02010503040101060203" pitchFamily="2" charset="77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b="0" i="0" kern="1200">
          <a:solidFill>
            <a:schemeClr val="tx1"/>
          </a:solidFill>
          <a:latin typeface="Honeywell Sans TT" panose="02010503040101060203" pitchFamily="2" charset="77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Honeywell Sans TT" panose="02010503040101060203" pitchFamily="2" charset="77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Honeywell Sans TT" panose="02010503040101060203" pitchFamily="2" charset="77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0" i="0" kern="1200">
          <a:solidFill>
            <a:schemeClr val="tx1"/>
          </a:solidFill>
          <a:latin typeface="Honeywell Sans TT" panose="02010503040101060203" pitchFamily="2" charset="77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b="0" i="0" kern="1200">
          <a:solidFill>
            <a:schemeClr val="tx1"/>
          </a:solidFill>
          <a:latin typeface="Honeywell Sans TT" panose="02010503040101060203" pitchFamily="2" charset="77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87388"/>
            <a:ext cx="8229600" cy="4888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87218-A021-DC40-AAD7-3F3D1FDA0D4D}" type="datetimeFigureOut">
              <a:rPr lang="en-US" smtClean="0"/>
              <a:t>3/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1E992D-94CC-B64C-9610-5BFD8C6230B7}" type="slidenum">
              <a:rPr lang="en-US" smtClean="0"/>
              <a:t>‹nr.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0" y="789309"/>
            <a:ext cx="8686800" cy="0"/>
          </a:xfrm>
          <a:prstGeom prst="line">
            <a:avLst/>
          </a:prstGeom>
          <a:ln>
            <a:solidFill>
              <a:srgbClr val="FF78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5335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georg.markhovski@honeywell.com" TargetMode="External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4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9.jpeg"/><Relationship Id="rId12" Type="http://schemas.openxmlformats.org/officeDocument/2006/relationships/image" Target="../media/image24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5.xml"/><Relationship Id="rId6" Type="http://schemas.microsoft.com/office/2007/relationships/diagramDrawing" Target="../diagrams/drawing1.xml"/><Relationship Id="rId11" Type="http://schemas.openxmlformats.org/officeDocument/2006/relationships/image" Target="../media/image23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22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A469CAC6-6EC6-45C3-9585-C66161742178}"/>
              </a:ext>
            </a:extLst>
          </p:cNvPr>
          <p:cNvSpPr/>
          <p:nvPr/>
        </p:nvSpPr>
        <p:spPr>
          <a:xfrm>
            <a:off x="323528" y="915566"/>
            <a:ext cx="648072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latin typeface="-apple-system"/>
              </a:rPr>
              <a:t>Honeywell/TREND Niagara: </a:t>
            </a:r>
          </a:p>
          <a:p>
            <a:r>
              <a:rPr lang="en-US" sz="2800" b="1" dirty="0">
                <a:latin typeface="-apple-system"/>
              </a:rPr>
              <a:t>Pump it up &amp; </a:t>
            </a:r>
            <a:r>
              <a:rPr lang="en-US" sz="2800" b="1" dirty="0" err="1">
                <a:latin typeface="-apple-system"/>
              </a:rPr>
              <a:t>Analysér</a:t>
            </a:r>
            <a:r>
              <a:rPr lang="en-US" sz="2800" b="1" dirty="0">
                <a:latin typeface="-apple-system"/>
              </a:rPr>
              <a:t> det!</a:t>
            </a:r>
            <a:endParaRPr lang="en-US" sz="2800" b="1" i="0" dirty="0"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17136939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646FC045-77DB-41B2-90D0-28B5626DD5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/>
              <a:t>Landing page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F8010D36-535E-4B2E-874A-A622995E6C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699542"/>
            <a:ext cx="6558768" cy="41035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id="{4B5E7E2B-F4B5-475B-ADF5-B84A47E35466}"/>
              </a:ext>
            </a:extLst>
          </p:cNvPr>
          <p:cNvSpPr txBox="1"/>
          <p:nvPr/>
        </p:nvSpPr>
        <p:spPr>
          <a:xfrm>
            <a:off x="7164288" y="771550"/>
            <a:ext cx="18002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/>
              <a:t>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/>
              <a:t>Vejr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/>
              <a:t>Alarmoversig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/>
              <a:t>MQTT/J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/>
              <a:t>Integration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4C7D46FB-C981-4C32-AA84-64D268A7AE7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208" r="830" b="7208"/>
          <a:stretch/>
        </p:blipFill>
        <p:spPr>
          <a:xfrm>
            <a:off x="6012160" y="1203599"/>
            <a:ext cx="883543" cy="328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9347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A07453CF-4712-4269-AE6A-CFDA8CF0F4E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6308" y="257176"/>
            <a:ext cx="6373924" cy="1739714"/>
          </a:xfrm>
        </p:spPr>
        <p:txBody>
          <a:bodyPr/>
          <a:lstStyle/>
          <a:p>
            <a:r>
              <a:rPr lang="da-DK" dirty="0"/>
              <a:t>Energiforbrug vs. udetemperatur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1BBF5115-2398-4EB1-9197-69137F25E2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520" y="699542"/>
            <a:ext cx="6578200" cy="40963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9AAFA1F5-A5D5-42B6-AC6D-1AF674AB05C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2600" t="24800" r="34250" b="47200"/>
          <a:stretch/>
        </p:blipFill>
        <p:spPr>
          <a:xfrm>
            <a:off x="7452320" y="699542"/>
            <a:ext cx="1008112" cy="25202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719860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A3FB7C8F-1F21-4FD8-9886-7494D88C50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6308" y="257176"/>
            <a:ext cx="5149788" cy="1739714"/>
          </a:xfrm>
        </p:spPr>
        <p:txBody>
          <a:bodyPr/>
          <a:lstStyle/>
          <a:p>
            <a:r>
              <a:rPr lang="da-DK" dirty="0"/>
              <a:t>Heat </a:t>
            </a:r>
            <a:r>
              <a:rPr lang="da-DK" dirty="0" err="1"/>
              <a:t>map</a:t>
            </a:r>
            <a:r>
              <a:rPr lang="da-DK" dirty="0"/>
              <a:t> / </a:t>
            </a:r>
            <a:r>
              <a:rPr lang="da-DK" dirty="0" err="1"/>
              <a:t>spectrum</a:t>
            </a:r>
            <a:r>
              <a:rPr lang="da-DK" dirty="0"/>
              <a:t> </a:t>
            </a:r>
            <a:r>
              <a:rPr lang="da-DK" dirty="0" err="1"/>
              <a:t>chart</a:t>
            </a:r>
            <a:endParaRPr lang="da-DK" dirty="0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F9AB2E6E-A5B8-4517-9B50-F3507D76DA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2" y="699542"/>
            <a:ext cx="6769515" cy="41867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291406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C74785D2-A7A1-488A-9C9D-D9FE1F021A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/>
              <a:t>Co2 vs. VAV spjæld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EF90A645-B60D-4917-99A0-DDB10A689B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592" y="793253"/>
            <a:ext cx="6616895" cy="40839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539163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01586086-F3D2-4319-B1F5-E8D2C2355D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6308" y="257176"/>
            <a:ext cx="4789748" cy="1739714"/>
          </a:xfrm>
        </p:spPr>
        <p:txBody>
          <a:bodyPr/>
          <a:lstStyle/>
          <a:p>
            <a:r>
              <a:rPr lang="da-DK" dirty="0"/>
              <a:t>Rapporter i pdf på e-mail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E44E8353-1D3E-4366-9FDF-CA0710522C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208" y="3651870"/>
            <a:ext cx="4150916" cy="11167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99220A12-F97C-49EF-B687-C3D618B4D3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2208" y="771550"/>
            <a:ext cx="4150915" cy="25279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5CDA8DCD-23F8-4D11-A940-40707C7C34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9586" y="747950"/>
            <a:ext cx="2710404" cy="38551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05107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70363D5A-8D56-499C-8BD0-7AE991C46E6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 err="1"/>
              <a:t>Opening</a:t>
            </a:r>
            <a:r>
              <a:rPr lang="da-DK" dirty="0"/>
              <a:t> the </a:t>
            </a:r>
            <a:r>
              <a:rPr lang="da-DK" dirty="0" err="1"/>
              <a:t>black</a:t>
            </a:r>
            <a:r>
              <a:rPr lang="da-DK" dirty="0"/>
              <a:t> </a:t>
            </a:r>
            <a:r>
              <a:rPr lang="da-DK" dirty="0" err="1"/>
              <a:t>box</a:t>
            </a:r>
            <a:endParaRPr lang="da-DK" dirty="0"/>
          </a:p>
        </p:txBody>
      </p:sp>
      <p:pic>
        <p:nvPicPr>
          <p:cNvPr id="7172" name="Picture 4" descr="Opening the black box within the black box: What the brain tells the brain  – Psychonomic Society Featured Content">
            <a:extLst>
              <a:ext uri="{FF2B5EF4-FFF2-40B4-BE49-F238E27FC236}">
                <a16:creationId xmlns:a16="http://schemas.microsoft.com/office/drawing/2014/main" id="{D3FEDCD7-F54B-46E0-96E4-60694DE33A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635646"/>
            <a:ext cx="6334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ktangel: afrundede hjørner 2">
            <a:extLst>
              <a:ext uri="{FF2B5EF4-FFF2-40B4-BE49-F238E27FC236}">
                <a16:creationId xmlns:a16="http://schemas.microsoft.com/office/drawing/2014/main" id="{2E7997D4-18F2-4C28-8766-6D2998866617}"/>
              </a:ext>
            </a:extLst>
          </p:cNvPr>
          <p:cNvSpPr/>
          <p:nvPr/>
        </p:nvSpPr>
        <p:spPr>
          <a:xfrm>
            <a:off x="1043608" y="771550"/>
            <a:ext cx="2880320" cy="108012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 u="sng" dirty="0" err="1"/>
              <a:t>Slut-bruger</a:t>
            </a:r>
            <a:r>
              <a:rPr lang="da-DK" sz="1000" u="sng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/>
              <a:t>Nem og hurtig gradvis implement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/>
              <a:t>Ingen IT begrænsn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/>
              <a:t>Data ejerska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/>
              <a:t>Fleksibel leverandørvalg, partner koncep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/>
              <a:t>Tilpasning, indflydel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000" dirty="0"/>
          </a:p>
        </p:txBody>
      </p:sp>
      <p:sp>
        <p:nvSpPr>
          <p:cNvPr id="6" name="Rektangel: afrundede hjørner 5">
            <a:extLst>
              <a:ext uri="{FF2B5EF4-FFF2-40B4-BE49-F238E27FC236}">
                <a16:creationId xmlns:a16="http://schemas.microsoft.com/office/drawing/2014/main" id="{EA31AE34-0D37-438C-A304-74BD277DE723}"/>
              </a:ext>
            </a:extLst>
          </p:cNvPr>
          <p:cNvSpPr/>
          <p:nvPr/>
        </p:nvSpPr>
        <p:spPr>
          <a:xfrm>
            <a:off x="5329300" y="771550"/>
            <a:ext cx="2880320" cy="1080120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 u="sng" dirty="0"/>
              <a:t>System Integrato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/>
              <a:t>”</a:t>
            </a:r>
            <a:r>
              <a:rPr lang="da-DK" sz="1000" dirty="0" err="1"/>
              <a:t>Added</a:t>
            </a:r>
            <a:r>
              <a:rPr lang="da-DK" sz="1000" dirty="0"/>
              <a:t> Value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/>
              <a:t>Organisk del af Niagara Framewo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/>
              <a:t>Skræddersyede løsn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/>
              <a:t>Let </a:t>
            </a:r>
            <a:r>
              <a:rPr lang="da-DK" sz="1000" dirty="0" err="1"/>
              <a:t>opskalering</a:t>
            </a:r>
            <a:r>
              <a:rPr lang="da-DK" sz="1000" dirty="0"/>
              <a:t>, </a:t>
            </a:r>
            <a:r>
              <a:rPr lang="da-DK" sz="1000" dirty="0" err="1"/>
              <a:t>templating</a:t>
            </a:r>
            <a:endParaRPr lang="da-DK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000" dirty="0"/>
          </a:p>
        </p:txBody>
      </p:sp>
      <p:sp>
        <p:nvSpPr>
          <p:cNvPr id="7" name="Rektangel: afrundede hjørner 6">
            <a:extLst>
              <a:ext uri="{FF2B5EF4-FFF2-40B4-BE49-F238E27FC236}">
                <a16:creationId xmlns:a16="http://schemas.microsoft.com/office/drawing/2014/main" id="{A833747E-49BE-4AA9-AD31-6A6548BE93B8}"/>
              </a:ext>
            </a:extLst>
          </p:cNvPr>
          <p:cNvSpPr/>
          <p:nvPr/>
        </p:nvSpPr>
        <p:spPr>
          <a:xfrm>
            <a:off x="1043608" y="3723878"/>
            <a:ext cx="2880320" cy="1162446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 u="sng" dirty="0"/>
              <a:t>Rådgiv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/>
              <a:t>Krav til Meta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/>
              <a:t>Gennemgang af eksisterende syste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/>
              <a:t>Et værktøj for </a:t>
            </a:r>
            <a:r>
              <a:rPr lang="da-DK" sz="1000" dirty="0" err="1"/>
              <a:t>Commissioning</a:t>
            </a:r>
            <a:endParaRPr lang="da-DK" sz="1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/>
              <a:t>Mulighed for at imødekomme de nye krav i Bygningsreglementet BR 18 - §298A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000" dirty="0"/>
          </a:p>
        </p:txBody>
      </p:sp>
      <p:sp>
        <p:nvSpPr>
          <p:cNvPr id="8" name="Rektangel: afrundede hjørner 7">
            <a:extLst>
              <a:ext uri="{FF2B5EF4-FFF2-40B4-BE49-F238E27FC236}">
                <a16:creationId xmlns:a16="http://schemas.microsoft.com/office/drawing/2014/main" id="{6736CDA2-8309-435A-91D4-4537F07F3FE3}"/>
              </a:ext>
            </a:extLst>
          </p:cNvPr>
          <p:cNvSpPr/>
          <p:nvPr/>
        </p:nvSpPr>
        <p:spPr>
          <a:xfrm>
            <a:off x="5436096" y="3710047"/>
            <a:ext cx="2880320" cy="823645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000" u="sng" dirty="0"/>
              <a:t>Uddannelses institutione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/>
              <a:t>Forskningsprojek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000" dirty="0"/>
              <a:t>Udarbejdelse af fælles algorit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000" dirty="0"/>
          </a:p>
        </p:txBody>
      </p:sp>
    </p:spTree>
    <p:extLst>
      <p:ext uri="{BB962C8B-B14F-4D97-AF65-F5344CB8AC3E}">
        <p14:creationId xmlns:p14="http://schemas.microsoft.com/office/powerpoint/2010/main" val="17134561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C7119315-EDC9-4102-9AB5-E9E68A64B25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/>
              <a:t>kontakt</a:t>
            </a:r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19D67C15-546F-424C-B52D-8F69A14F36E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288" y="257176"/>
            <a:ext cx="1491630" cy="1491630"/>
          </a:xfrm>
          <a:prstGeom prst="rect">
            <a:avLst/>
          </a:prstGeom>
        </p:spPr>
      </p:pic>
      <p:sp>
        <p:nvSpPr>
          <p:cNvPr id="4" name="Rectangle 2">
            <a:extLst>
              <a:ext uri="{FF2B5EF4-FFF2-40B4-BE49-F238E27FC236}">
                <a16:creationId xmlns:a16="http://schemas.microsoft.com/office/drawing/2014/main" id="{0267BF5A-6AE8-4747-B772-A85512E715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320" y="920265"/>
            <a:ext cx="5580112" cy="203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da-DK" sz="1400" b="1" i="0" u="none" strike="noStrike" cap="none" normalizeH="0" baseline="0" dirty="0">
                <a:ln>
                  <a:noFill/>
                </a:ln>
                <a:solidFill>
                  <a:srgbClr val="1F497D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Georg Markhovski</a:t>
            </a:r>
            <a:endParaRPr kumimoji="0" lang="da-DK" altLang="da-DK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altLang="da-DK" sz="1400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usiness Development Manager, MSc (Eng.)</a:t>
            </a:r>
            <a:endParaRPr kumimoji="0" lang="da-DK" altLang="da-DK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da-DK" sz="1400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oneywell A/S</a:t>
            </a:r>
            <a:endParaRPr kumimoji="0" lang="da-DK" altLang="da-DK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da-DK" sz="1400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randesplanaden</a:t>
            </a:r>
            <a:r>
              <a:rPr kumimoji="0" lang="fr-FR" altLang="da-DK" sz="1400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110</a:t>
            </a:r>
            <a:endParaRPr kumimoji="0" lang="da-DK" altLang="da-DK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da-DK" sz="1400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665</a:t>
            </a:r>
            <a:r>
              <a:rPr kumimoji="0" lang="fr-FR" altLang="da-DK" sz="1400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  <a:r>
              <a:rPr kumimoji="0" lang="fr-FR" altLang="da-DK" sz="1400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fr-FR" altLang="da-DK" sz="1400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Vallensb</a:t>
            </a:r>
            <a:r>
              <a:rPr kumimoji="0" lang="fr-FR" altLang="da-DK" sz="1400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æ</a:t>
            </a:r>
            <a:r>
              <a:rPr kumimoji="0" lang="fr-FR" altLang="da-DK" sz="1400" b="0" i="0" u="none" strike="noStrike" cap="none" normalizeH="0" baseline="0" dirty="0" err="1">
                <a:ln>
                  <a:noFill/>
                </a:ln>
                <a:solidFill>
                  <a:srgbClr val="70707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</a:t>
            </a:r>
            <a:r>
              <a:rPr kumimoji="0" lang="fr-FR" altLang="da-DK" sz="1400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endParaRPr kumimoji="0" lang="da-DK" altLang="da-DK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da-DK" sz="1400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anmark</a:t>
            </a:r>
            <a:endParaRPr kumimoji="0" lang="da-DK" altLang="da-DK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da-DK" sz="1400" b="0" i="0" u="none" strike="noStrike" cap="none" normalizeH="0" baseline="0" dirty="0">
                <a:ln>
                  <a:noFill/>
                </a:ln>
                <a:solidFill>
                  <a:srgbClr val="70707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obile +45 20 98 52 55</a:t>
            </a:r>
            <a:endParaRPr kumimoji="0" lang="da-DK" altLang="da-DK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da-DK" sz="1400" b="0" i="0" u="none" strike="noStrike" cap="none" normalizeH="0" baseline="0" dirty="0">
                <a:ln>
                  <a:noFill/>
                </a:ln>
                <a:solidFill>
                  <a:srgbClr val="0563C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3"/>
              </a:rPr>
              <a:t>georg.markhovski@honeywell.com</a:t>
            </a:r>
            <a:endParaRPr kumimoji="0" lang="da-DK" altLang="da-DK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altLang="da-DK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4D99399B-5630-442C-AE8E-C37467258E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130774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a-DK"/>
          </a:p>
        </p:txBody>
      </p:sp>
      <p:pic>
        <p:nvPicPr>
          <p:cNvPr id="7" name="Billede 6" descr="Et billede, der indeholder tekst&#10;&#10;Automatisk genereret beskrivelse">
            <a:extLst>
              <a:ext uri="{FF2B5EF4-FFF2-40B4-BE49-F238E27FC236}">
                <a16:creationId xmlns:a16="http://schemas.microsoft.com/office/drawing/2014/main" id="{5DD43D48-5B86-4DE1-96DA-4F62D4C8517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3176074"/>
            <a:ext cx="5245968" cy="1098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4700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EE611B6A-86A1-45FC-AD32-CF8637268F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/>
              <a:t>indledning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06F4A5BB-6360-435F-8806-B6DF67B801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729" y="915566"/>
            <a:ext cx="3800835" cy="1450652"/>
          </a:xfrm>
          <a:prstGeom prst="rect">
            <a:avLst/>
          </a:prstGeom>
        </p:spPr>
      </p:pic>
      <p:pic>
        <p:nvPicPr>
          <p:cNvPr id="6146" name="Picture 2" descr="Как посчитать кубатуру колотых дров сложенных в поленницу?">
            <a:extLst>
              <a:ext uri="{FF2B5EF4-FFF2-40B4-BE49-F238E27FC236}">
                <a16:creationId xmlns:a16="http://schemas.microsoft.com/office/drawing/2014/main" id="{DBE66105-8A7F-46C9-80FD-7B78EE5726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4406" y="503962"/>
            <a:ext cx="2598818" cy="1959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ustegn 3">
            <a:extLst>
              <a:ext uri="{FF2B5EF4-FFF2-40B4-BE49-F238E27FC236}">
                <a16:creationId xmlns:a16="http://schemas.microsoft.com/office/drawing/2014/main" id="{1793B65C-8EAD-456B-B0B8-1233022A7FE2}"/>
              </a:ext>
            </a:extLst>
          </p:cNvPr>
          <p:cNvSpPr/>
          <p:nvPr/>
        </p:nvSpPr>
        <p:spPr>
          <a:xfrm>
            <a:off x="4238770" y="961824"/>
            <a:ext cx="1386540" cy="1358135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6148" name="Picture 4">
            <a:extLst>
              <a:ext uri="{FF2B5EF4-FFF2-40B4-BE49-F238E27FC236}">
                <a16:creationId xmlns:a16="http://schemas.microsoft.com/office/drawing/2014/main" id="{01D27535-6DF4-4FB1-8554-29F379D5A1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2571750"/>
            <a:ext cx="3800835" cy="2303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C40C3D06-DE32-4AE6-9A38-8CB462EEF5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08662" y="2571750"/>
            <a:ext cx="1784562" cy="2230702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DA6C4EBF-A265-42D5-B110-1A6947F7F95A}"/>
              </a:ext>
            </a:extLst>
          </p:cNvPr>
          <p:cNvSpPr/>
          <p:nvPr/>
        </p:nvSpPr>
        <p:spPr>
          <a:xfrm>
            <a:off x="3923928" y="2885212"/>
            <a:ext cx="2942152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da-DK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MOTOR </a:t>
            </a:r>
          </a:p>
          <a:p>
            <a:pPr algn="ctr"/>
            <a:r>
              <a:rPr lang="da-DK" sz="5400" b="1" cap="none" spc="0" dirty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???</a:t>
            </a:r>
          </a:p>
        </p:txBody>
      </p:sp>
      <p:sp>
        <p:nvSpPr>
          <p:cNvPr id="9" name="Plustegn 8">
            <a:extLst>
              <a:ext uri="{FF2B5EF4-FFF2-40B4-BE49-F238E27FC236}">
                <a16:creationId xmlns:a16="http://schemas.microsoft.com/office/drawing/2014/main" id="{AD8D6731-25E1-4792-8794-B4880362E4FC}"/>
              </a:ext>
            </a:extLst>
          </p:cNvPr>
          <p:cNvSpPr/>
          <p:nvPr/>
        </p:nvSpPr>
        <p:spPr>
          <a:xfrm rot="2738152">
            <a:off x="4230918" y="976207"/>
            <a:ext cx="1386540" cy="1358135"/>
          </a:xfrm>
          <a:prstGeom prst="mathPlus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23466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1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1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1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61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  <p:bldP spid="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Lige forbindelse 10">
            <a:extLst>
              <a:ext uri="{FF2B5EF4-FFF2-40B4-BE49-F238E27FC236}">
                <a16:creationId xmlns:a16="http://schemas.microsoft.com/office/drawing/2014/main" id="{232EAD7F-E129-48FB-BAE5-0F610CACFDC7}"/>
              </a:ext>
            </a:extLst>
          </p:cNvPr>
          <p:cNvCxnSpPr/>
          <p:nvPr/>
        </p:nvCxnSpPr>
        <p:spPr>
          <a:xfrm>
            <a:off x="395536" y="1996890"/>
            <a:ext cx="8352928" cy="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F24404EF-A0D0-4CFF-B843-4A2DB8125AB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/>
              <a:t>Cloud vs. </a:t>
            </a:r>
            <a:r>
              <a:rPr lang="da-DK" dirty="0" err="1"/>
              <a:t>edge</a:t>
            </a:r>
            <a:endParaRPr lang="da-DK" dirty="0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84F4DED2-BCD2-41C1-988A-EF76C325C05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08393644"/>
              </p:ext>
            </p:extLst>
          </p:nvPr>
        </p:nvGraphicFramePr>
        <p:xfrm>
          <a:off x="1187624" y="771550"/>
          <a:ext cx="2039888" cy="40639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kstfelt 6">
            <a:extLst>
              <a:ext uri="{FF2B5EF4-FFF2-40B4-BE49-F238E27FC236}">
                <a16:creationId xmlns:a16="http://schemas.microsoft.com/office/drawing/2014/main" id="{70CBB92C-9D83-4215-8965-CD95738E54FF}"/>
              </a:ext>
            </a:extLst>
          </p:cNvPr>
          <p:cNvSpPr txBox="1"/>
          <p:nvPr/>
        </p:nvSpPr>
        <p:spPr>
          <a:xfrm>
            <a:off x="3635896" y="123478"/>
            <a:ext cx="518457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u="sng" dirty="0"/>
              <a:t>Cloud Udfordringer</a:t>
            </a:r>
            <a:r>
              <a:rPr lang="da-DK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IT, adgang til serv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Tilslutnings proces – ”</a:t>
            </a:r>
            <a:r>
              <a:rPr lang="da-DK" dirty="0" err="1"/>
              <a:t>reverse</a:t>
            </a:r>
            <a:r>
              <a:rPr lang="da-DK" dirty="0"/>
              <a:t> </a:t>
            </a:r>
            <a:r>
              <a:rPr lang="da-DK" dirty="0" err="1"/>
              <a:t>engineering</a:t>
            </a:r>
            <a:r>
              <a:rPr lang="da-DK" dirty="0"/>
              <a:t>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Abonnemen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Ventetid for historikopsamling / effek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Ejerskab af data, evt. ”</a:t>
            </a:r>
            <a:r>
              <a:rPr lang="da-DK" dirty="0" err="1"/>
              <a:t>offboarding</a:t>
            </a:r>
            <a:r>
              <a:rPr lang="da-DK" dirty="0"/>
              <a:t>”</a:t>
            </a:r>
          </a:p>
        </p:txBody>
      </p:sp>
      <p:sp>
        <p:nvSpPr>
          <p:cNvPr id="8" name="Pil: pentagon 7">
            <a:extLst>
              <a:ext uri="{FF2B5EF4-FFF2-40B4-BE49-F238E27FC236}">
                <a16:creationId xmlns:a16="http://schemas.microsoft.com/office/drawing/2014/main" id="{9CE83624-5B18-4C42-A396-71389DD060F7}"/>
              </a:ext>
            </a:extLst>
          </p:cNvPr>
          <p:cNvSpPr/>
          <p:nvPr/>
        </p:nvSpPr>
        <p:spPr>
          <a:xfrm>
            <a:off x="3275856" y="2334970"/>
            <a:ext cx="1656184" cy="2494146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/>
              <a:t>Niagara</a:t>
            </a:r>
          </a:p>
          <a:p>
            <a:r>
              <a:rPr lang="da-DK" dirty="0"/>
              <a:t>Analytics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92577C9C-E736-4B10-A079-F3518C627A42}"/>
              </a:ext>
            </a:extLst>
          </p:cNvPr>
          <p:cNvSpPr txBox="1"/>
          <p:nvPr/>
        </p:nvSpPr>
        <p:spPr>
          <a:xfrm>
            <a:off x="4932040" y="2250034"/>
            <a:ext cx="391546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u="sng" dirty="0"/>
              <a:t>Edge Analytics</a:t>
            </a:r>
            <a:r>
              <a:rPr lang="da-DK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Både på kontroller og supervisor nivea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Eksisterende install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One-</a:t>
            </a:r>
            <a:r>
              <a:rPr lang="da-DK" dirty="0" err="1"/>
              <a:t>off</a:t>
            </a:r>
            <a:r>
              <a:rPr lang="da-DK" dirty="0"/>
              <a:t> licens omkost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Punkterne tælles kun en ga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Analysen strækker tilbage i ti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Al data opbevares hos kun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Høj fleksibilitet </a:t>
            </a: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6C6EB043-B003-4BF9-B9A8-CDA7C0EC96C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451" y="2427038"/>
            <a:ext cx="1074182" cy="278410"/>
          </a:xfrm>
          <a:prstGeom prst="rect">
            <a:avLst/>
          </a:prstGeom>
        </p:spPr>
      </p:pic>
      <p:sp>
        <p:nvSpPr>
          <p:cNvPr id="13" name="Rektangel: afrundede hjørner 5">
            <a:extLst>
              <a:ext uri="{FF2B5EF4-FFF2-40B4-BE49-F238E27FC236}">
                <a16:creationId xmlns:a16="http://schemas.microsoft.com/office/drawing/2014/main" id="{F158C9BB-32DF-4ADB-88B3-1CEAFAD75602}"/>
              </a:ext>
            </a:extLst>
          </p:cNvPr>
          <p:cNvSpPr/>
          <p:nvPr/>
        </p:nvSpPr>
        <p:spPr>
          <a:xfrm>
            <a:off x="185451" y="2868707"/>
            <a:ext cx="1074182" cy="351115"/>
          </a:xfrm>
          <a:prstGeom prst="roundRect">
            <a:avLst/>
          </a:prstGeom>
          <a:solidFill>
            <a:sysClr val="window" lastClr="FFFFFF"/>
          </a:solidFill>
          <a:ln w="25400" cap="flat" cmpd="sng" algn="ctr">
            <a:solidFill>
              <a:srgbClr val="9BBB59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Arena </a:t>
            </a:r>
            <a:r>
              <a:rPr kumimoji="0" lang="da-DK" sz="1600" b="0" i="0" u="none" strike="noStrike" kern="0" cap="none" spc="0" normalizeH="0" baseline="0" noProof="0" dirty="0">
                <a:ln>
                  <a:noFill/>
                </a:ln>
                <a:solidFill>
                  <a:srgbClr val="0D8B46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NX</a:t>
            </a:r>
          </a:p>
        </p:txBody>
      </p:sp>
      <p:pic>
        <p:nvPicPr>
          <p:cNvPr id="14" name="Billede 39">
            <a:extLst>
              <a:ext uri="{FF2B5EF4-FFF2-40B4-BE49-F238E27FC236}">
                <a16:creationId xmlns:a16="http://schemas.microsoft.com/office/drawing/2014/main" id="{EC086BFF-0B7C-4E50-9799-B93404E0D45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59" y="3685612"/>
            <a:ext cx="886380" cy="765415"/>
          </a:xfrm>
          <a:prstGeom prst="rect">
            <a:avLst/>
          </a:prstGeom>
        </p:spPr>
      </p:pic>
      <p:pic>
        <p:nvPicPr>
          <p:cNvPr id="15" name="Picture 101">
            <a:extLst>
              <a:ext uri="{FF2B5EF4-FFF2-40B4-BE49-F238E27FC236}">
                <a16:creationId xmlns:a16="http://schemas.microsoft.com/office/drawing/2014/main" id="{75E8D340-00DD-4427-ABF9-AE1DA43E47F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84" t="19201" r="8563" b="17449"/>
          <a:stretch/>
        </p:blipFill>
        <p:spPr>
          <a:xfrm>
            <a:off x="131011" y="4437361"/>
            <a:ext cx="529049" cy="398743"/>
          </a:xfrm>
          <a:prstGeom prst="rect">
            <a:avLst/>
          </a:prstGeom>
        </p:spPr>
      </p:pic>
      <p:pic>
        <p:nvPicPr>
          <p:cNvPr id="16" name="Picture 16">
            <a:extLst>
              <a:ext uri="{FF2B5EF4-FFF2-40B4-BE49-F238E27FC236}">
                <a16:creationId xmlns:a16="http://schemas.microsoft.com/office/drawing/2014/main" id="{FDF3EB69-E5C4-472F-9B0B-8EF63D69FF9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1422" y="3851700"/>
            <a:ext cx="429546" cy="36591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7" name="Content Placeholder 9">
            <a:extLst>
              <a:ext uri="{FF2B5EF4-FFF2-40B4-BE49-F238E27FC236}">
                <a16:creationId xmlns:a16="http://schemas.microsoft.com/office/drawing/2014/main" id="{D3DFF136-DC7A-4FE6-992E-27D27A507BB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0879" y="4437361"/>
            <a:ext cx="413023" cy="390118"/>
          </a:xfrm>
          <a:prstGeom prst="rect">
            <a:avLst/>
          </a:prstGeom>
        </p:spPr>
      </p:pic>
      <p:pic>
        <p:nvPicPr>
          <p:cNvPr id="11266" name="Picture 2" descr="Niagara Enterprise Security Frequently Asked Questions">
            <a:extLst>
              <a:ext uri="{FF2B5EF4-FFF2-40B4-BE49-F238E27FC236}">
                <a16:creationId xmlns:a16="http://schemas.microsoft.com/office/drawing/2014/main" id="{EE68B561-16A3-4E0E-8417-0641CA3DBF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835" y="3343133"/>
            <a:ext cx="918220" cy="392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4919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animBg="1"/>
      <p:bldP spid="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42088AC-2746-47C2-AAA6-AA9AADD51DDE}"/>
              </a:ext>
            </a:extLst>
          </p:cNvPr>
          <p:cNvSpPr/>
          <p:nvPr/>
        </p:nvSpPr>
        <p:spPr>
          <a:xfrm>
            <a:off x="2928688" y="2010498"/>
            <a:ext cx="2975882" cy="2146405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2C3EA1F-1B26-40DE-B3E0-6E4F8F4739E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5940" y="2260021"/>
            <a:ext cx="1836426" cy="183642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A045CF0-9D44-4517-A7E9-E8FAC4D9A9F7}"/>
              </a:ext>
            </a:extLst>
          </p:cNvPr>
          <p:cNvSpPr/>
          <p:nvPr/>
        </p:nvSpPr>
        <p:spPr>
          <a:xfrm>
            <a:off x="1263946" y="2021191"/>
            <a:ext cx="1517786" cy="2159454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da-DK" dirty="0" err="1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1FD9966-7DF7-49D8-A954-EB2841465CE0}"/>
              </a:ext>
            </a:extLst>
          </p:cNvPr>
          <p:cNvSpPr/>
          <p:nvPr/>
        </p:nvSpPr>
        <p:spPr>
          <a:xfrm>
            <a:off x="6084185" y="2001367"/>
            <a:ext cx="1902279" cy="1718582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5B4B271-FD65-4737-92AF-98EE20AD8A5C}"/>
              </a:ext>
            </a:extLst>
          </p:cNvPr>
          <p:cNvSpPr/>
          <p:nvPr/>
        </p:nvSpPr>
        <p:spPr>
          <a:xfrm>
            <a:off x="3072027" y="2376623"/>
            <a:ext cx="893989" cy="30003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2D424F9-91D6-49CA-AAAD-9455AA96826A}"/>
              </a:ext>
            </a:extLst>
          </p:cNvPr>
          <p:cNvSpPr/>
          <p:nvPr/>
        </p:nvSpPr>
        <p:spPr>
          <a:xfrm>
            <a:off x="3072027" y="3739336"/>
            <a:ext cx="893989" cy="30003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5B713CE-BDCC-425E-972C-42A8A7309F64}"/>
              </a:ext>
            </a:extLst>
          </p:cNvPr>
          <p:cNvSpPr/>
          <p:nvPr/>
        </p:nvSpPr>
        <p:spPr>
          <a:xfrm>
            <a:off x="3072026" y="2832802"/>
            <a:ext cx="893989" cy="60960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EA2E30D-B445-4602-879B-805C55E09D37}"/>
              </a:ext>
            </a:extLst>
          </p:cNvPr>
          <p:cNvSpPr/>
          <p:nvPr/>
        </p:nvSpPr>
        <p:spPr>
          <a:xfrm>
            <a:off x="4439313" y="2260021"/>
            <a:ext cx="893989" cy="30003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474DE53-FF15-441E-B36F-B193C5C333B1}"/>
              </a:ext>
            </a:extLst>
          </p:cNvPr>
          <p:cNvSpPr/>
          <p:nvPr/>
        </p:nvSpPr>
        <p:spPr>
          <a:xfrm>
            <a:off x="4333409" y="4213743"/>
            <a:ext cx="1105797" cy="5345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50" dirty="0">
                <a:solidFill>
                  <a:schemeClr val="tx1"/>
                </a:solidFill>
              </a:rPr>
              <a:t>Justering af system parametr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F473418-92D6-4AB6-A473-A2E4EBBCE70A}"/>
              </a:ext>
            </a:extLst>
          </p:cNvPr>
          <p:cNvSpPr/>
          <p:nvPr/>
        </p:nvSpPr>
        <p:spPr>
          <a:xfrm>
            <a:off x="6199690" y="2260021"/>
            <a:ext cx="1688516" cy="91007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AB61350-00E6-483D-9CF9-D9FE8A351069}"/>
              </a:ext>
            </a:extLst>
          </p:cNvPr>
          <p:cNvSpPr/>
          <p:nvPr/>
        </p:nvSpPr>
        <p:spPr>
          <a:xfrm>
            <a:off x="6202804" y="3297070"/>
            <a:ext cx="701126" cy="31241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AC8DF7C-F810-481A-8365-D07318AE30C3}"/>
              </a:ext>
            </a:extLst>
          </p:cNvPr>
          <p:cNvSpPr/>
          <p:nvPr/>
        </p:nvSpPr>
        <p:spPr>
          <a:xfrm>
            <a:off x="6199690" y="3774511"/>
            <a:ext cx="508076" cy="25318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ED25406-2335-4EA0-903E-A6F4094AE152}"/>
              </a:ext>
            </a:extLst>
          </p:cNvPr>
          <p:cNvSpPr/>
          <p:nvPr/>
        </p:nvSpPr>
        <p:spPr>
          <a:xfrm>
            <a:off x="7025303" y="3771712"/>
            <a:ext cx="784859" cy="60863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schemeClr val="tx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EFB66FA-9763-457C-8DB4-F69390D957C0}"/>
              </a:ext>
            </a:extLst>
          </p:cNvPr>
          <p:cNvSpPr/>
          <p:nvPr/>
        </p:nvSpPr>
        <p:spPr>
          <a:xfrm>
            <a:off x="6263805" y="2506495"/>
            <a:ext cx="991955" cy="23767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A186862-C1AD-4BF2-8845-F2293B9E6CC6}"/>
              </a:ext>
            </a:extLst>
          </p:cNvPr>
          <p:cNvSpPr/>
          <p:nvPr/>
        </p:nvSpPr>
        <p:spPr>
          <a:xfrm>
            <a:off x="1352659" y="2301641"/>
            <a:ext cx="1330943" cy="180684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06F700C-7063-4A9C-A7D1-182C6A6463E1}"/>
              </a:ext>
            </a:extLst>
          </p:cNvPr>
          <p:cNvSpPr/>
          <p:nvPr/>
        </p:nvSpPr>
        <p:spPr>
          <a:xfrm>
            <a:off x="6523209" y="2700223"/>
            <a:ext cx="968696" cy="23767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972CB9F-7E3F-45A4-A9DA-25D1AEDBC971}"/>
              </a:ext>
            </a:extLst>
          </p:cNvPr>
          <p:cNvSpPr/>
          <p:nvPr/>
        </p:nvSpPr>
        <p:spPr>
          <a:xfrm>
            <a:off x="6818207" y="2895105"/>
            <a:ext cx="991955" cy="23767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2D13CFA-4C9C-4096-9927-79036EFC35B8}"/>
              </a:ext>
            </a:extLst>
          </p:cNvPr>
          <p:cNvSpPr/>
          <p:nvPr/>
        </p:nvSpPr>
        <p:spPr>
          <a:xfrm>
            <a:off x="1917428" y="2368997"/>
            <a:ext cx="641362" cy="79449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069918-3859-4613-9963-917BA1FAD32D}"/>
              </a:ext>
            </a:extLst>
          </p:cNvPr>
          <p:cNvSpPr/>
          <p:nvPr/>
        </p:nvSpPr>
        <p:spPr>
          <a:xfrm>
            <a:off x="1917427" y="3233197"/>
            <a:ext cx="641362" cy="79449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2674CC0-3587-43B6-90DD-3674DD232C99}"/>
              </a:ext>
            </a:extLst>
          </p:cNvPr>
          <p:cNvSpPr txBox="1"/>
          <p:nvPr/>
        </p:nvSpPr>
        <p:spPr>
          <a:xfrm>
            <a:off x="1352659" y="2051831"/>
            <a:ext cx="1057598" cy="2081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50" dirty="0"/>
              <a:t>Kilde data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E7B39DD-2A27-4191-A493-0A3660A03F45}"/>
              </a:ext>
            </a:extLst>
          </p:cNvPr>
          <p:cNvSpPr txBox="1"/>
          <p:nvPr/>
        </p:nvSpPr>
        <p:spPr>
          <a:xfrm>
            <a:off x="3072027" y="2058345"/>
            <a:ext cx="1057598" cy="2081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50" dirty="0"/>
              <a:t>Data behandling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3DAFC08-CDC3-4F0F-9EDD-BCF6B64AA54C}"/>
              </a:ext>
            </a:extLst>
          </p:cNvPr>
          <p:cNvSpPr txBox="1"/>
          <p:nvPr/>
        </p:nvSpPr>
        <p:spPr>
          <a:xfrm>
            <a:off x="6194887" y="2065111"/>
            <a:ext cx="1582616" cy="20142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50" dirty="0"/>
              <a:t>Visualiser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1883215-5A41-4EA2-BCFC-4F29DCB370D8}"/>
              </a:ext>
            </a:extLst>
          </p:cNvPr>
          <p:cNvSpPr txBox="1"/>
          <p:nvPr/>
        </p:nvSpPr>
        <p:spPr>
          <a:xfrm>
            <a:off x="6258711" y="2278536"/>
            <a:ext cx="1057598" cy="2081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50" dirty="0"/>
              <a:t>Skematiske sid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F6B6FF1-8711-4C21-B158-837FD692CBCD}"/>
              </a:ext>
            </a:extLst>
          </p:cNvPr>
          <p:cNvSpPr txBox="1"/>
          <p:nvPr/>
        </p:nvSpPr>
        <p:spPr>
          <a:xfrm>
            <a:off x="6290974" y="2506640"/>
            <a:ext cx="1057598" cy="2081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50" dirty="0"/>
              <a:t>Graf,kurve,søjl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4736B50-6088-4728-B1BF-D47E5DAB0D8B}"/>
              </a:ext>
            </a:extLst>
          </p:cNvPr>
          <p:cNvSpPr txBox="1"/>
          <p:nvPr/>
        </p:nvSpPr>
        <p:spPr>
          <a:xfrm>
            <a:off x="6552067" y="2710398"/>
            <a:ext cx="1057598" cy="2081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50" dirty="0"/>
              <a:t>Tabelle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6B3FC83-C437-44D2-A693-A6CABA48DADF}"/>
              </a:ext>
            </a:extLst>
          </p:cNvPr>
          <p:cNvSpPr txBox="1"/>
          <p:nvPr/>
        </p:nvSpPr>
        <p:spPr>
          <a:xfrm>
            <a:off x="6849570" y="2906836"/>
            <a:ext cx="811929" cy="2081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50" dirty="0"/>
              <a:t>Dashboard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E2AA142-E1D1-4816-B3B3-31B0E262A149}"/>
              </a:ext>
            </a:extLst>
          </p:cNvPr>
          <p:cNvSpPr txBox="1"/>
          <p:nvPr/>
        </p:nvSpPr>
        <p:spPr>
          <a:xfrm>
            <a:off x="6255477" y="3362110"/>
            <a:ext cx="618587" cy="2081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50" dirty="0"/>
              <a:t>Rapport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DC5E5A8-D65D-4D6D-929C-93F266E0FE67}"/>
              </a:ext>
            </a:extLst>
          </p:cNvPr>
          <p:cNvSpPr txBox="1"/>
          <p:nvPr/>
        </p:nvSpPr>
        <p:spPr>
          <a:xfrm>
            <a:off x="6217587" y="3813864"/>
            <a:ext cx="505746" cy="2081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50" dirty="0"/>
              <a:t>Alarmer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A797ADD-7A8D-4938-80F7-55886E4399DB}"/>
              </a:ext>
            </a:extLst>
          </p:cNvPr>
          <p:cNvSpPr txBox="1"/>
          <p:nvPr/>
        </p:nvSpPr>
        <p:spPr>
          <a:xfrm>
            <a:off x="7032705" y="3811954"/>
            <a:ext cx="755959" cy="4857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1050" dirty="0"/>
              <a:t>IQVISION</a:t>
            </a:r>
          </a:p>
          <a:p>
            <a:pPr algn="ctr"/>
            <a:r>
              <a:rPr lang="da-DK" sz="1050" dirty="0"/>
              <a:t>Alarm håndtering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4FE2F628-DF3F-46F0-B88D-7460CD0A3025}"/>
              </a:ext>
            </a:extLst>
          </p:cNvPr>
          <p:cNvSpPr txBox="1"/>
          <p:nvPr/>
        </p:nvSpPr>
        <p:spPr>
          <a:xfrm>
            <a:off x="1379949" y="3027133"/>
            <a:ext cx="528799" cy="5799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50" dirty="0"/>
              <a:t>Taggede</a:t>
            </a:r>
          </a:p>
          <a:p>
            <a:pPr algn="l"/>
            <a:r>
              <a:rPr lang="da-DK" sz="1050" dirty="0"/>
              <a:t>punkte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0DE4168-567A-42C0-807B-0C0D08C2EC8F}"/>
              </a:ext>
            </a:extLst>
          </p:cNvPr>
          <p:cNvSpPr txBox="1"/>
          <p:nvPr/>
        </p:nvSpPr>
        <p:spPr>
          <a:xfrm>
            <a:off x="1935692" y="2598838"/>
            <a:ext cx="591573" cy="5417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1050" dirty="0"/>
              <a:t>Live værdier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0E41AA7-3185-4975-B6CD-6ADA08023EBC}"/>
              </a:ext>
            </a:extLst>
          </p:cNvPr>
          <p:cNvSpPr txBox="1"/>
          <p:nvPr/>
        </p:nvSpPr>
        <p:spPr>
          <a:xfrm>
            <a:off x="1937492" y="3477781"/>
            <a:ext cx="591573" cy="5417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1050" dirty="0"/>
              <a:t>Historiske værdier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C55F532-AF8B-4339-A494-67BE07D08F9D}"/>
              </a:ext>
            </a:extLst>
          </p:cNvPr>
          <p:cNvSpPr txBox="1"/>
          <p:nvPr/>
        </p:nvSpPr>
        <p:spPr>
          <a:xfrm>
            <a:off x="3150164" y="2434067"/>
            <a:ext cx="782173" cy="2081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50" dirty="0"/>
              <a:t>Aggregation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CD25B4F-90B3-4EA7-BF5D-4A941F56026A}"/>
              </a:ext>
            </a:extLst>
          </p:cNvPr>
          <p:cNvSpPr txBox="1"/>
          <p:nvPr/>
        </p:nvSpPr>
        <p:spPr>
          <a:xfrm>
            <a:off x="4568869" y="2318452"/>
            <a:ext cx="682562" cy="2081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50" dirty="0"/>
              <a:t>Algoritmer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CDE205F-EA46-4A47-8185-54EC29000C72}"/>
              </a:ext>
            </a:extLst>
          </p:cNvPr>
          <p:cNvSpPr txBox="1"/>
          <p:nvPr/>
        </p:nvSpPr>
        <p:spPr>
          <a:xfrm>
            <a:off x="3170808" y="2971324"/>
            <a:ext cx="667525" cy="4215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50" dirty="0"/>
              <a:t>Tabte data strategier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CAC382E-EAF6-416B-AA4B-A3476D40CD61}"/>
              </a:ext>
            </a:extLst>
          </p:cNvPr>
          <p:cNvSpPr txBox="1"/>
          <p:nvPr/>
        </p:nvSpPr>
        <p:spPr>
          <a:xfrm>
            <a:off x="3305289" y="3789197"/>
            <a:ext cx="532799" cy="2081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1050" dirty="0"/>
              <a:t>Rollup</a:t>
            </a:r>
          </a:p>
        </p:txBody>
      </p: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128F1296-5081-43A5-8690-FC309D345590}"/>
              </a:ext>
            </a:extLst>
          </p:cNvPr>
          <p:cNvCxnSpPr>
            <a:cxnSpLocks/>
          </p:cNvCxnSpPr>
          <p:nvPr/>
        </p:nvCxnSpPr>
        <p:spPr>
          <a:xfrm>
            <a:off x="4246071" y="2403631"/>
            <a:ext cx="195699" cy="1"/>
          </a:xfrm>
          <a:prstGeom prst="bentConnector3">
            <a:avLst>
              <a:gd name="adj1" fmla="val 50000"/>
            </a:avLst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0A56A6E-7FD2-4107-9EAD-4011BA0FFC51}"/>
              </a:ext>
            </a:extLst>
          </p:cNvPr>
          <p:cNvCxnSpPr>
            <a:cxnSpLocks/>
          </p:cNvCxnSpPr>
          <p:nvPr/>
        </p:nvCxnSpPr>
        <p:spPr>
          <a:xfrm>
            <a:off x="4246071" y="2403631"/>
            <a:ext cx="0" cy="156444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0910AFCC-5B4D-4CF9-A924-067D8CFB4346}"/>
              </a:ext>
            </a:extLst>
          </p:cNvPr>
          <p:cNvCxnSpPr>
            <a:stCxn id="16" idx="3"/>
          </p:cNvCxnSpPr>
          <p:nvPr/>
        </p:nvCxnSpPr>
        <p:spPr>
          <a:xfrm>
            <a:off x="3966016" y="2526642"/>
            <a:ext cx="28005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C79C5CC-CF45-451B-91CA-FA592531D2B4}"/>
              </a:ext>
            </a:extLst>
          </p:cNvPr>
          <p:cNvCxnSpPr/>
          <p:nvPr/>
        </p:nvCxnSpPr>
        <p:spPr>
          <a:xfrm>
            <a:off x="3966016" y="3132779"/>
            <a:ext cx="28005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6ED0DF7-C4B1-4EA0-A01C-46EEF978E108}"/>
              </a:ext>
            </a:extLst>
          </p:cNvPr>
          <p:cNvCxnSpPr/>
          <p:nvPr/>
        </p:nvCxnSpPr>
        <p:spPr>
          <a:xfrm>
            <a:off x="3966016" y="3881553"/>
            <a:ext cx="28005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1334CBA-A2FC-47A9-ABEE-3A5014748D0E}"/>
              </a:ext>
            </a:extLst>
          </p:cNvPr>
          <p:cNvCxnSpPr>
            <a:stCxn id="16" idx="1"/>
          </p:cNvCxnSpPr>
          <p:nvPr/>
        </p:nvCxnSpPr>
        <p:spPr>
          <a:xfrm flipH="1" flipV="1">
            <a:off x="2554435" y="2434066"/>
            <a:ext cx="517592" cy="9257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9772336A-8BE6-44D1-B3B5-96B5EA21BF48}"/>
              </a:ext>
            </a:extLst>
          </p:cNvPr>
          <p:cNvCxnSpPr>
            <a:cxnSpLocks/>
            <a:stCxn id="16" idx="1"/>
          </p:cNvCxnSpPr>
          <p:nvPr/>
        </p:nvCxnSpPr>
        <p:spPr>
          <a:xfrm flipH="1">
            <a:off x="2560945" y="2526643"/>
            <a:ext cx="511082" cy="37749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473F1635-F692-4242-AC74-C5AD5020AF6C}"/>
              </a:ext>
            </a:extLst>
          </p:cNvPr>
          <p:cNvCxnSpPr>
            <a:cxnSpLocks/>
            <a:stCxn id="16" idx="1"/>
          </p:cNvCxnSpPr>
          <p:nvPr/>
        </p:nvCxnSpPr>
        <p:spPr>
          <a:xfrm flipH="1">
            <a:off x="2558790" y="2526642"/>
            <a:ext cx="513237" cy="90828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DCF46D32-90D6-4F0D-81A9-DB61B293434E}"/>
              </a:ext>
            </a:extLst>
          </p:cNvPr>
          <p:cNvCxnSpPr>
            <a:stCxn id="18" idx="1"/>
            <a:endCxn id="18" idx="1"/>
          </p:cNvCxnSpPr>
          <p:nvPr/>
        </p:nvCxnSpPr>
        <p:spPr>
          <a:xfrm>
            <a:off x="3072026" y="3137603"/>
            <a:ext cx="0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EDD2E1BF-6FCC-42A9-8CE2-A45AD2ED7ED3}"/>
              </a:ext>
            </a:extLst>
          </p:cNvPr>
          <p:cNvCxnSpPr>
            <a:stCxn id="17" idx="1"/>
            <a:endCxn id="13" idx="3"/>
          </p:cNvCxnSpPr>
          <p:nvPr/>
        </p:nvCxnSpPr>
        <p:spPr>
          <a:xfrm flipH="1" flipV="1">
            <a:off x="2558788" y="3630444"/>
            <a:ext cx="513239" cy="258911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7E248567-0CC4-47A1-9AFA-62C7A76141BF}"/>
              </a:ext>
            </a:extLst>
          </p:cNvPr>
          <p:cNvCxnSpPr>
            <a:cxnSpLocks/>
            <a:endCxn id="17" idx="1"/>
          </p:cNvCxnSpPr>
          <p:nvPr/>
        </p:nvCxnSpPr>
        <p:spPr>
          <a:xfrm>
            <a:off x="2563267" y="3846251"/>
            <a:ext cx="508760" cy="4310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98CFC7E0-84C0-4803-B0C9-7FFDBBCAEB28}"/>
              </a:ext>
            </a:extLst>
          </p:cNvPr>
          <p:cNvCxnSpPr>
            <a:cxnSpLocks/>
            <a:stCxn id="20" idx="1"/>
            <a:endCxn id="13" idx="2"/>
          </p:cNvCxnSpPr>
          <p:nvPr/>
        </p:nvCxnSpPr>
        <p:spPr>
          <a:xfrm rot="10800000">
            <a:off x="2238109" y="4027690"/>
            <a:ext cx="2095301" cy="453305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89B248A9-C2B3-4B2C-B66B-F67F0A224A15}"/>
              </a:ext>
            </a:extLst>
          </p:cNvPr>
          <p:cNvCxnSpPr>
            <a:cxnSpLocks/>
          </p:cNvCxnSpPr>
          <p:nvPr/>
        </p:nvCxnSpPr>
        <p:spPr>
          <a:xfrm flipV="1">
            <a:off x="6714404" y="3910815"/>
            <a:ext cx="309372" cy="1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685EAEFB-C923-4D07-A960-D4F60975AE3C}"/>
              </a:ext>
            </a:extLst>
          </p:cNvPr>
          <p:cNvCxnSpPr>
            <a:stCxn id="19" idx="3"/>
          </p:cNvCxnSpPr>
          <p:nvPr/>
        </p:nvCxnSpPr>
        <p:spPr>
          <a:xfrm>
            <a:off x="5333302" y="2410040"/>
            <a:ext cx="866388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D805B03C-35AB-4ED8-B0D0-1F3A3818D36C}"/>
              </a:ext>
            </a:extLst>
          </p:cNvPr>
          <p:cNvCxnSpPr>
            <a:cxnSpLocks/>
          </p:cNvCxnSpPr>
          <p:nvPr/>
        </p:nvCxnSpPr>
        <p:spPr>
          <a:xfrm>
            <a:off x="5758379" y="3371118"/>
            <a:ext cx="444425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609E05C8-82DF-4037-99DA-66BBE33A04C9}"/>
              </a:ext>
            </a:extLst>
          </p:cNvPr>
          <p:cNvCxnSpPr>
            <a:cxnSpLocks/>
          </p:cNvCxnSpPr>
          <p:nvPr/>
        </p:nvCxnSpPr>
        <p:spPr>
          <a:xfrm>
            <a:off x="5750463" y="3833231"/>
            <a:ext cx="444425" cy="0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Connector: Elbow 92">
            <a:extLst>
              <a:ext uri="{FF2B5EF4-FFF2-40B4-BE49-F238E27FC236}">
                <a16:creationId xmlns:a16="http://schemas.microsoft.com/office/drawing/2014/main" id="{4332B111-1694-4B2C-95E3-C98A62609F1F}"/>
              </a:ext>
            </a:extLst>
          </p:cNvPr>
          <p:cNvCxnSpPr>
            <a:cxnSpLocks/>
            <a:endCxn id="20" idx="3"/>
          </p:cNvCxnSpPr>
          <p:nvPr/>
        </p:nvCxnSpPr>
        <p:spPr>
          <a:xfrm rot="5400000">
            <a:off x="4564121" y="3289888"/>
            <a:ext cx="2066194" cy="316021"/>
          </a:xfrm>
          <a:prstGeom prst="bentConnector2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943B03CE-2BD2-41F7-AE95-B2F63D95244A}"/>
              </a:ext>
            </a:extLst>
          </p:cNvPr>
          <p:cNvCxnSpPr>
            <a:cxnSpLocks/>
          </p:cNvCxnSpPr>
          <p:nvPr/>
        </p:nvCxnSpPr>
        <p:spPr>
          <a:xfrm>
            <a:off x="4246071" y="2857862"/>
            <a:ext cx="1953619" cy="1025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AEF01E26-CC1C-42B7-975B-6718B1EFFC31}"/>
              </a:ext>
            </a:extLst>
          </p:cNvPr>
          <p:cNvCxnSpPr>
            <a:cxnSpLocks/>
          </p:cNvCxnSpPr>
          <p:nvPr/>
        </p:nvCxnSpPr>
        <p:spPr>
          <a:xfrm>
            <a:off x="4249185" y="3547175"/>
            <a:ext cx="1953619" cy="1025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8385D560-98A4-431E-B7C1-C92793E30F37}"/>
              </a:ext>
            </a:extLst>
          </p:cNvPr>
          <p:cNvCxnSpPr>
            <a:cxnSpLocks/>
          </p:cNvCxnSpPr>
          <p:nvPr/>
        </p:nvCxnSpPr>
        <p:spPr>
          <a:xfrm>
            <a:off x="4241837" y="3967048"/>
            <a:ext cx="1953619" cy="1025"/>
          </a:xfrm>
          <a:prstGeom prst="straightConnector1">
            <a:avLst/>
          </a:prstGeom>
          <a:ln w="9525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Picture 46">
            <a:extLst>
              <a:ext uri="{FF2B5EF4-FFF2-40B4-BE49-F238E27FC236}">
                <a16:creationId xmlns:a16="http://schemas.microsoft.com/office/drawing/2014/main" id="{B8DEFD4D-09A8-4A6A-8D3E-B8599B6ADE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855" y="3233197"/>
            <a:ext cx="446543" cy="446543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83A475F3-F33D-4D9F-9260-F066AB245BE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5471" y="3348301"/>
            <a:ext cx="446543" cy="446543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DAAEB004-C1B9-4E85-B36C-1D959B12E4B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7622" y="3461041"/>
            <a:ext cx="446543" cy="446543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914A8541-13BD-450A-A052-AF4F8452EBCD}"/>
              </a:ext>
            </a:extLst>
          </p:cNvPr>
          <p:cNvSpPr txBox="1"/>
          <p:nvPr/>
        </p:nvSpPr>
        <p:spPr>
          <a:xfrm>
            <a:off x="1545498" y="3428434"/>
            <a:ext cx="160434" cy="53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375" dirty="0"/>
              <a:t>Meters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915433B0-978D-4260-A4BB-C9B3B8C47D8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8840" y="3181817"/>
            <a:ext cx="566129" cy="532161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01735367-CF60-4104-B664-6BE8EDA45D82}"/>
              </a:ext>
            </a:extLst>
          </p:cNvPr>
          <p:cNvSpPr txBox="1"/>
          <p:nvPr/>
        </p:nvSpPr>
        <p:spPr>
          <a:xfrm>
            <a:off x="1581210" y="3540949"/>
            <a:ext cx="160434" cy="53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375" dirty="0"/>
              <a:t>AHU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64F1E5E-D799-48DD-89B9-7474301FBCD0}"/>
              </a:ext>
            </a:extLst>
          </p:cNvPr>
          <p:cNvSpPr txBox="1"/>
          <p:nvPr/>
        </p:nvSpPr>
        <p:spPr>
          <a:xfrm>
            <a:off x="1604870" y="3655249"/>
            <a:ext cx="237143" cy="53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a-DK" sz="375" dirty="0"/>
              <a:t>1 th. Floor</a:t>
            </a: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1CAD0540-4A81-4769-A470-C554CA82E54C}"/>
              </a:ext>
            </a:extLst>
          </p:cNvPr>
          <p:cNvSpPr/>
          <p:nvPr/>
        </p:nvSpPr>
        <p:spPr>
          <a:xfrm>
            <a:off x="2843808" y="718936"/>
            <a:ext cx="532901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2">
              <a:buClr>
                <a:srgbClr val="DC202E"/>
              </a:buClr>
            </a:pPr>
            <a:r>
              <a:rPr lang="da-DK" sz="1600" dirty="0">
                <a:solidFill>
                  <a:prstClr val="black"/>
                </a:solidFill>
              </a:rPr>
              <a:t>Analytics bruger både historiske og real-time data fra systemet og bruger Algoritmer, Diagnose, Matematiske formler, Logik og Filtre</a:t>
            </a:r>
            <a:endParaRPr lang="da-DK" sz="1600" dirty="0">
              <a:solidFill>
                <a:srgbClr val="DC202E"/>
              </a:solidFill>
            </a:endParaRP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D6E00EF8-AB3D-461F-BDE9-22FEE14685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6308" y="257176"/>
            <a:ext cx="7238020" cy="1739714"/>
          </a:xfrm>
        </p:spPr>
        <p:txBody>
          <a:bodyPr/>
          <a:lstStyle/>
          <a:p>
            <a:r>
              <a:rPr lang="da-DK" dirty="0"/>
              <a:t>Niagara </a:t>
            </a:r>
            <a:r>
              <a:rPr lang="da-DK" dirty="0" err="1"/>
              <a:t>analytics</a:t>
            </a:r>
            <a:r>
              <a:rPr lang="da-DK" dirty="0"/>
              <a:t> arkitektur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1BEECBDE-ACF7-4EA3-8104-E61F74723D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225" y="595876"/>
            <a:ext cx="1867401" cy="1037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21005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4B5FC9FA-68D6-49DD-BD7F-D5F57CF6AF3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6308" y="257176"/>
            <a:ext cx="6805972" cy="1739714"/>
          </a:xfrm>
        </p:spPr>
        <p:txBody>
          <a:bodyPr/>
          <a:lstStyle/>
          <a:p>
            <a:r>
              <a:rPr lang="en-GB"/>
              <a:t>Metadata – tagging, hierarchy</a:t>
            </a:r>
          </a:p>
        </p:txBody>
      </p:sp>
      <p:pic>
        <p:nvPicPr>
          <p:cNvPr id="6148" name="Picture 4" descr="Project Haystack for Smart Cities and Buildings | ARC Advisory">
            <a:extLst>
              <a:ext uri="{FF2B5EF4-FFF2-40B4-BE49-F238E27FC236}">
                <a16:creationId xmlns:a16="http://schemas.microsoft.com/office/drawing/2014/main" id="{7DAE0559-0692-4B84-A851-838EAB5A87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339502"/>
            <a:ext cx="2516439" cy="3435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Billede 2">
            <a:extLst>
              <a:ext uri="{FF2B5EF4-FFF2-40B4-BE49-F238E27FC236}">
                <a16:creationId xmlns:a16="http://schemas.microsoft.com/office/drawing/2014/main" id="{FF8BF0F6-A146-4FA9-B572-4ED860331B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4689" y="1228065"/>
            <a:ext cx="2286822" cy="28245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17B72EC4-D619-401E-963A-839B42A958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544" y="3075807"/>
            <a:ext cx="2651809" cy="16561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9DF0CF49-1D38-473C-8F2B-36E2720F83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544" y="987574"/>
            <a:ext cx="2627230" cy="18722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Pil: højre 5">
            <a:extLst>
              <a:ext uri="{FF2B5EF4-FFF2-40B4-BE49-F238E27FC236}">
                <a16:creationId xmlns:a16="http://schemas.microsoft.com/office/drawing/2014/main" id="{47C4376A-AEFB-4456-B2FA-9B8B29C775DF}"/>
              </a:ext>
            </a:extLst>
          </p:cNvPr>
          <p:cNvSpPr/>
          <p:nvPr/>
        </p:nvSpPr>
        <p:spPr>
          <a:xfrm>
            <a:off x="3275856" y="2355726"/>
            <a:ext cx="576064" cy="129614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grpSp>
        <p:nvGrpSpPr>
          <p:cNvPr id="9" name="Group 107">
            <a:extLst>
              <a:ext uri="{FF2B5EF4-FFF2-40B4-BE49-F238E27FC236}">
                <a16:creationId xmlns:a16="http://schemas.microsoft.com/office/drawing/2014/main" id="{64A941C7-CD8F-4EBF-B9E7-822A30622A38}"/>
              </a:ext>
            </a:extLst>
          </p:cNvPr>
          <p:cNvGrpSpPr/>
          <p:nvPr/>
        </p:nvGrpSpPr>
        <p:grpSpPr>
          <a:xfrm rot="2552794">
            <a:off x="2791402" y="4001036"/>
            <a:ext cx="1352948" cy="450850"/>
            <a:chOff x="6931819" y="2717527"/>
            <a:chExt cx="1352948" cy="450850"/>
          </a:xfrm>
        </p:grpSpPr>
        <p:grpSp>
          <p:nvGrpSpPr>
            <p:cNvPr id="10" name="Group 108">
              <a:extLst>
                <a:ext uri="{FF2B5EF4-FFF2-40B4-BE49-F238E27FC236}">
                  <a16:creationId xmlns:a16="http://schemas.microsoft.com/office/drawing/2014/main" id="{B108803F-D245-4064-805C-A13E451F32EF}"/>
                </a:ext>
              </a:extLst>
            </p:cNvPr>
            <p:cNvGrpSpPr/>
            <p:nvPr/>
          </p:nvGrpSpPr>
          <p:grpSpPr>
            <a:xfrm>
              <a:off x="6931819" y="2717527"/>
              <a:ext cx="1352948" cy="450850"/>
              <a:chOff x="6931819" y="2717527"/>
              <a:chExt cx="1352948" cy="450850"/>
            </a:xfrm>
          </p:grpSpPr>
          <p:grpSp>
            <p:nvGrpSpPr>
              <p:cNvPr id="12" name="Group 110">
                <a:extLst>
                  <a:ext uri="{FF2B5EF4-FFF2-40B4-BE49-F238E27FC236}">
                    <a16:creationId xmlns:a16="http://schemas.microsoft.com/office/drawing/2014/main" id="{73E3AD79-23EC-409E-87EB-DDA466781E3A}"/>
                  </a:ext>
                </a:extLst>
              </p:cNvPr>
              <p:cNvGrpSpPr/>
              <p:nvPr/>
            </p:nvGrpSpPr>
            <p:grpSpPr>
              <a:xfrm>
                <a:off x="7164783" y="2717527"/>
                <a:ext cx="1119984" cy="450850"/>
                <a:chOff x="7164783" y="2717527"/>
                <a:chExt cx="1119984" cy="450850"/>
              </a:xfrm>
            </p:grpSpPr>
            <p:sp>
              <p:nvSpPr>
                <p:cNvPr id="18" name="Freeform: Shape 116">
                  <a:extLst>
                    <a:ext uri="{FF2B5EF4-FFF2-40B4-BE49-F238E27FC236}">
                      <a16:creationId xmlns:a16="http://schemas.microsoft.com/office/drawing/2014/main" id="{3F278C17-10B5-444D-8F42-39827CE2C2DE}"/>
                    </a:ext>
                  </a:extLst>
                </p:cNvPr>
                <p:cNvSpPr/>
                <p:nvPr/>
              </p:nvSpPr>
              <p:spPr>
                <a:xfrm>
                  <a:off x="7164783" y="2717527"/>
                  <a:ext cx="1119984" cy="450850"/>
                </a:xfrm>
                <a:custGeom>
                  <a:avLst/>
                  <a:gdLst>
                    <a:gd name="connsiteX0" fmla="*/ 812800 w 815975"/>
                    <a:gd name="connsiteY0" fmla="*/ 0 h 450850"/>
                    <a:gd name="connsiteX1" fmla="*/ 225425 w 815975"/>
                    <a:gd name="connsiteY1" fmla="*/ 0 h 450850"/>
                    <a:gd name="connsiteX2" fmla="*/ 0 w 815975"/>
                    <a:gd name="connsiteY2" fmla="*/ 225425 h 450850"/>
                    <a:gd name="connsiteX3" fmla="*/ 225425 w 815975"/>
                    <a:gd name="connsiteY3" fmla="*/ 450850 h 450850"/>
                    <a:gd name="connsiteX4" fmla="*/ 815975 w 815975"/>
                    <a:gd name="connsiteY4" fmla="*/ 450850 h 450850"/>
                    <a:gd name="connsiteX5" fmla="*/ 812800 w 815975"/>
                    <a:gd name="connsiteY5" fmla="*/ 0 h 450850"/>
                    <a:gd name="connsiteX0" fmla="*/ 812800 w 815975"/>
                    <a:gd name="connsiteY0" fmla="*/ 0 h 450850"/>
                    <a:gd name="connsiteX1" fmla="*/ 225425 w 815975"/>
                    <a:gd name="connsiteY1" fmla="*/ 0 h 450850"/>
                    <a:gd name="connsiteX2" fmla="*/ 107728 w 815975"/>
                    <a:gd name="connsiteY2" fmla="*/ 112469 h 450850"/>
                    <a:gd name="connsiteX3" fmla="*/ 0 w 815975"/>
                    <a:gd name="connsiteY3" fmla="*/ 225425 h 450850"/>
                    <a:gd name="connsiteX4" fmla="*/ 225425 w 815975"/>
                    <a:gd name="connsiteY4" fmla="*/ 450850 h 450850"/>
                    <a:gd name="connsiteX5" fmla="*/ 815975 w 815975"/>
                    <a:gd name="connsiteY5" fmla="*/ 450850 h 450850"/>
                    <a:gd name="connsiteX6" fmla="*/ 812800 w 815975"/>
                    <a:gd name="connsiteY6" fmla="*/ 0 h 450850"/>
                    <a:gd name="connsiteX0" fmla="*/ 812800 w 815975"/>
                    <a:gd name="connsiteY0" fmla="*/ 0 h 450850"/>
                    <a:gd name="connsiteX1" fmla="*/ 225425 w 815975"/>
                    <a:gd name="connsiteY1" fmla="*/ 0 h 450850"/>
                    <a:gd name="connsiteX2" fmla="*/ 107728 w 815975"/>
                    <a:gd name="connsiteY2" fmla="*/ 112469 h 450850"/>
                    <a:gd name="connsiteX3" fmla="*/ 0 w 815975"/>
                    <a:gd name="connsiteY3" fmla="*/ 225425 h 450850"/>
                    <a:gd name="connsiteX4" fmla="*/ 106071 w 815975"/>
                    <a:gd name="connsiteY4" fmla="*/ 336306 h 450850"/>
                    <a:gd name="connsiteX5" fmla="*/ 225425 w 815975"/>
                    <a:gd name="connsiteY5" fmla="*/ 450850 h 450850"/>
                    <a:gd name="connsiteX6" fmla="*/ 815975 w 815975"/>
                    <a:gd name="connsiteY6" fmla="*/ 450850 h 450850"/>
                    <a:gd name="connsiteX7" fmla="*/ 812800 w 815975"/>
                    <a:gd name="connsiteY7" fmla="*/ 0 h 450850"/>
                    <a:gd name="connsiteX0" fmla="*/ 812800 w 815975"/>
                    <a:gd name="connsiteY0" fmla="*/ 0 h 450850"/>
                    <a:gd name="connsiteX1" fmla="*/ 225425 w 815975"/>
                    <a:gd name="connsiteY1" fmla="*/ 0 h 450850"/>
                    <a:gd name="connsiteX2" fmla="*/ 107728 w 815975"/>
                    <a:gd name="connsiteY2" fmla="*/ 112469 h 450850"/>
                    <a:gd name="connsiteX3" fmla="*/ 0 w 815975"/>
                    <a:gd name="connsiteY3" fmla="*/ 225425 h 450850"/>
                    <a:gd name="connsiteX4" fmla="*/ 106071 w 815975"/>
                    <a:gd name="connsiteY4" fmla="*/ 336306 h 450850"/>
                    <a:gd name="connsiteX5" fmla="*/ 225425 w 815975"/>
                    <a:gd name="connsiteY5" fmla="*/ 450850 h 450850"/>
                    <a:gd name="connsiteX6" fmla="*/ 815975 w 815975"/>
                    <a:gd name="connsiteY6" fmla="*/ 450850 h 450850"/>
                    <a:gd name="connsiteX7" fmla="*/ 812800 w 815975"/>
                    <a:gd name="connsiteY7" fmla="*/ 0 h 450850"/>
                    <a:gd name="connsiteX0" fmla="*/ 776340 w 779515"/>
                    <a:gd name="connsiteY0" fmla="*/ 0 h 450850"/>
                    <a:gd name="connsiteX1" fmla="*/ 188965 w 779515"/>
                    <a:gd name="connsiteY1" fmla="*/ 0 h 450850"/>
                    <a:gd name="connsiteX2" fmla="*/ 71268 w 779515"/>
                    <a:gd name="connsiteY2" fmla="*/ 112469 h 450850"/>
                    <a:gd name="connsiteX3" fmla="*/ 2 w 779515"/>
                    <a:gd name="connsiteY3" fmla="*/ 232569 h 450850"/>
                    <a:gd name="connsiteX4" fmla="*/ 69611 w 779515"/>
                    <a:gd name="connsiteY4" fmla="*/ 336306 h 450850"/>
                    <a:gd name="connsiteX5" fmla="*/ 188965 w 779515"/>
                    <a:gd name="connsiteY5" fmla="*/ 450850 h 450850"/>
                    <a:gd name="connsiteX6" fmla="*/ 779515 w 779515"/>
                    <a:gd name="connsiteY6" fmla="*/ 450850 h 450850"/>
                    <a:gd name="connsiteX7" fmla="*/ 776340 w 779515"/>
                    <a:gd name="connsiteY7" fmla="*/ 0 h 450850"/>
                    <a:gd name="connsiteX0" fmla="*/ 776340 w 779515"/>
                    <a:gd name="connsiteY0" fmla="*/ 0 h 450850"/>
                    <a:gd name="connsiteX1" fmla="*/ 188965 w 779515"/>
                    <a:gd name="connsiteY1" fmla="*/ 0 h 450850"/>
                    <a:gd name="connsiteX2" fmla="*/ 71268 w 779515"/>
                    <a:gd name="connsiteY2" fmla="*/ 124375 h 450850"/>
                    <a:gd name="connsiteX3" fmla="*/ 2 w 779515"/>
                    <a:gd name="connsiteY3" fmla="*/ 232569 h 450850"/>
                    <a:gd name="connsiteX4" fmla="*/ 69611 w 779515"/>
                    <a:gd name="connsiteY4" fmla="*/ 336306 h 450850"/>
                    <a:gd name="connsiteX5" fmla="*/ 188965 w 779515"/>
                    <a:gd name="connsiteY5" fmla="*/ 450850 h 450850"/>
                    <a:gd name="connsiteX6" fmla="*/ 779515 w 779515"/>
                    <a:gd name="connsiteY6" fmla="*/ 450850 h 450850"/>
                    <a:gd name="connsiteX7" fmla="*/ 776340 w 779515"/>
                    <a:gd name="connsiteY7" fmla="*/ 0 h 450850"/>
                    <a:gd name="connsiteX0" fmla="*/ 776340 w 779515"/>
                    <a:gd name="connsiteY0" fmla="*/ 0 h 450850"/>
                    <a:gd name="connsiteX1" fmla="*/ 188965 w 779515"/>
                    <a:gd name="connsiteY1" fmla="*/ 0 h 450850"/>
                    <a:gd name="connsiteX2" fmla="*/ 71268 w 779515"/>
                    <a:gd name="connsiteY2" fmla="*/ 117232 h 450850"/>
                    <a:gd name="connsiteX3" fmla="*/ 2 w 779515"/>
                    <a:gd name="connsiteY3" fmla="*/ 232569 h 450850"/>
                    <a:gd name="connsiteX4" fmla="*/ 69611 w 779515"/>
                    <a:gd name="connsiteY4" fmla="*/ 336306 h 450850"/>
                    <a:gd name="connsiteX5" fmla="*/ 188965 w 779515"/>
                    <a:gd name="connsiteY5" fmla="*/ 450850 h 450850"/>
                    <a:gd name="connsiteX6" fmla="*/ 779515 w 779515"/>
                    <a:gd name="connsiteY6" fmla="*/ 450850 h 450850"/>
                    <a:gd name="connsiteX7" fmla="*/ 776340 w 779515"/>
                    <a:gd name="connsiteY7" fmla="*/ 0 h 450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79515" h="450850">
                      <a:moveTo>
                        <a:pt x="776340" y="0"/>
                      </a:moveTo>
                      <a:lnTo>
                        <a:pt x="188965" y="0"/>
                      </a:lnTo>
                      <a:lnTo>
                        <a:pt x="71268" y="117232"/>
                      </a:lnTo>
                      <a:cubicBezTo>
                        <a:pt x="33697" y="154803"/>
                        <a:pt x="278" y="196057"/>
                        <a:pt x="2" y="232569"/>
                      </a:cubicBezTo>
                      <a:cubicBezTo>
                        <a:pt x="-274" y="269081"/>
                        <a:pt x="32040" y="298735"/>
                        <a:pt x="69611" y="336306"/>
                      </a:cubicBezTo>
                      <a:lnTo>
                        <a:pt x="188965" y="450850"/>
                      </a:lnTo>
                      <a:lnTo>
                        <a:pt x="779515" y="450850"/>
                      </a:lnTo>
                      <a:cubicBezTo>
                        <a:pt x="778457" y="300567"/>
                        <a:pt x="777398" y="150283"/>
                        <a:pt x="77634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solidFill>
                    <a:srgbClr val="FF8C00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Rectangle: Rounded Corners 117">
                  <a:extLst>
                    <a:ext uri="{FF2B5EF4-FFF2-40B4-BE49-F238E27FC236}">
                      <a16:creationId xmlns:a16="http://schemas.microsoft.com/office/drawing/2014/main" id="{DB6C1BD5-07B4-4BBC-94D5-FD0798A6B145}"/>
                    </a:ext>
                  </a:extLst>
                </p:cNvPr>
                <p:cNvSpPr/>
                <p:nvPr/>
              </p:nvSpPr>
              <p:spPr>
                <a:xfrm>
                  <a:off x="7435742" y="2747047"/>
                  <a:ext cx="784334" cy="386677"/>
                </a:xfrm>
                <a:prstGeom prst="roundRect">
                  <a:avLst>
                    <a:gd name="adj" fmla="val 9976"/>
                  </a:avLst>
                </a:prstGeom>
                <a:solidFill>
                  <a:schemeClr val="bg1"/>
                </a:solidFill>
                <a:ln>
                  <a:solidFill>
                    <a:srgbClr val="FF8C00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" name="Oval 111">
                <a:extLst>
                  <a:ext uri="{FF2B5EF4-FFF2-40B4-BE49-F238E27FC236}">
                    <a16:creationId xmlns:a16="http://schemas.microsoft.com/office/drawing/2014/main" id="{D309982B-C2C6-4FB8-92ED-ECF7A8B351FC}"/>
                  </a:ext>
                </a:extLst>
              </p:cNvPr>
              <p:cNvSpPr/>
              <p:nvPr/>
            </p:nvSpPr>
            <p:spPr>
              <a:xfrm>
                <a:off x="7215186" y="2915768"/>
                <a:ext cx="63177" cy="63177"/>
              </a:xfrm>
              <a:prstGeom prst="ellipse">
                <a:avLst/>
              </a:pr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" name="Freeform: Shape 112">
                <a:extLst>
                  <a:ext uri="{FF2B5EF4-FFF2-40B4-BE49-F238E27FC236}">
                    <a16:creationId xmlns:a16="http://schemas.microsoft.com/office/drawing/2014/main" id="{C47EC7F4-2FB9-4CF1-92A6-0553359F186B}"/>
                  </a:ext>
                </a:extLst>
              </p:cNvPr>
              <p:cNvSpPr/>
              <p:nvPr/>
            </p:nvSpPr>
            <p:spPr>
              <a:xfrm>
                <a:off x="6931819" y="2881313"/>
                <a:ext cx="307649" cy="76200"/>
              </a:xfrm>
              <a:custGeom>
                <a:avLst/>
                <a:gdLst>
                  <a:gd name="connsiteX0" fmla="*/ 288131 w 307649"/>
                  <a:gd name="connsiteY0" fmla="*/ 76200 h 76200"/>
                  <a:gd name="connsiteX1" fmla="*/ 307181 w 307649"/>
                  <a:gd name="connsiteY1" fmla="*/ 61912 h 76200"/>
                  <a:gd name="connsiteX2" fmla="*/ 300037 w 307649"/>
                  <a:gd name="connsiteY2" fmla="*/ 45243 h 76200"/>
                  <a:gd name="connsiteX3" fmla="*/ 285750 w 307649"/>
                  <a:gd name="connsiteY3" fmla="*/ 35718 h 76200"/>
                  <a:gd name="connsiteX4" fmla="*/ 280987 w 307649"/>
                  <a:gd name="connsiteY4" fmla="*/ 28575 h 76200"/>
                  <a:gd name="connsiteX5" fmla="*/ 266700 w 307649"/>
                  <a:gd name="connsiteY5" fmla="*/ 19050 h 76200"/>
                  <a:gd name="connsiteX6" fmla="*/ 247650 w 307649"/>
                  <a:gd name="connsiteY6" fmla="*/ 9525 h 76200"/>
                  <a:gd name="connsiteX7" fmla="*/ 240506 w 307649"/>
                  <a:gd name="connsiteY7" fmla="*/ 4762 h 76200"/>
                  <a:gd name="connsiteX8" fmla="*/ 230981 w 307649"/>
                  <a:gd name="connsiteY8" fmla="*/ 0 h 76200"/>
                  <a:gd name="connsiteX9" fmla="*/ 195262 w 307649"/>
                  <a:gd name="connsiteY9" fmla="*/ 4762 h 76200"/>
                  <a:gd name="connsiteX10" fmla="*/ 180975 w 307649"/>
                  <a:gd name="connsiteY10" fmla="*/ 16668 h 76200"/>
                  <a:gd name="connsiteX11" fmla="*/ 173831 w 307649"/>
                  <a:gd name="connsiteY11" fmla="*/ 19050 h 76200"/>
                  <a:gd name="connsiteX12" fmla="*/ 157162 w 307649"/>
                  <a:gd name="connsiteY12" fmla="*/ 26193 h 76200"/>
                  <a:gd name="connsiteX13" fmla="*/ 142875 w 307649"/>
                  <a:gd name="connsiteY13" fmla="*/ 35718 h 76200"/>
                  <a:gd name="connsiteX14" fmla="*/ 128587 w 307649"/>
                  <a:gd name="connsiteY14" fmla="*/ 42862 h 76200"/>
                  <a:gd name="connsiteX15" fmla="*/ 121444 w 307649"/>
                  <a:gd name="connsiteY15" fmla="*/ 50006 h 76200"/>
                  <a:gd name="connsiteX16" fmla="*/ 100012 w 307649"/>
                  <a:gd name="connsiteY16" fmla="*/ 59531 h 76200"/>
                  <a:gd name="connsiteX17" fmla="*/ 76200 w 307649"/>
                  <a:gd name="connsiteY17" fmla="*/ 66675 h 76200"/>
                  <a:gd name="connsiteX18" fmla="*/ 69056 w 307649"/>
                  <a:gd name="connsiteY18" fmla="*/ 69056 h 76200"/>
                  <a:gd name="connsiteX19" fmla="*/ 33337 w 307649"/>
                  <a:gd name="connsiteY19" fmla="*/ 61912 h 76200"/>
                  <a:gd name="connsiteX20" fmla="*/ 26194 w 307649"/>
                  <a:gd name="connsiteY20" fmla="*/ 57150 h 76200"/>
                  <a:gd name="connsiteX21" fmla="*/ 0 w 307649"/>
                  <a:gd name="connsiteY21" fmla="*/ 54768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07649" h="76200">
                    <a:moveTo>
                      <a:pt x="288131" y="76200"/>
                    </a:moveTo>
                    <a:cubicBezTo>
                      <a:pt x="300160" y="74481"/>
                      <a:pt x="309934" y="78431"/>
                      <a:pt x="307181" y="61912"/>
                    </a:cubicBezTo>
                    <a:cubicBezTo>
                      <a:pt x="306187" y="55949"/>
                      <a:pt x="303865" y="49922"/>
                      <a:pt x="300037" y="45243"/>
                    </a:cubicBezTo>
                    <a:cubicBezTo>
                      <a:pt x="296413" y="40813"/>
                      <a:pt x="285750" y="35718"/>
                      <a:pt x="285750" y="35718"/>
                    </a:cubicBezTo>
                    <a:cubicBezTo>
                      <a:pt x="284162" y="33337"/>
                      <a:pt x="283141" y="30459"/>
                      <a:pt x="280987" y="28575"/>
                    </a:cubicBezTo>
                    <a:cubicBezTo>
                      <a:pt x="276679" y="24806"/>
                      <a:pt x="266700" y="19050"/>
                      <a:pt x="266700" y="19050"/>
                    </a:cubicBezTo>
                    <a:cubicBezTo>
                      <a:pt x="262046" y="5085"/>
                      <a:pt x="267919" y="15606"/>
                      <a:pt x="247650" y="9525"/>
                    </a:cubicBezTo>
                    <a:cubicBezTo>
                      <a:pt x="244909" y="8703"/>
                      <a:pt x="242991" y="6182"/>
                      <a:pt x="240506" y="4762"/>
                    </a:cubicBezTo>
                    <a:cubicBezTo>
                      <a:pt x="237424" y="3001"/>
                      <a:pt x="234156" y="1587"/>
                      <a:pt x="230981" y="0"/>
                    </a:cubicBezTo>
                    <a:cubicBezTo>
                      <a:pt x="219075" y="1587"/>
                      <a:pt x="206988" y="2156"/>
                      <a:pt x="195262" y="4762"/>
                    </a:cubicBezTo>
                    <a:cubicBezTo>
                      <a:pt x="189424" y="6059"/>
                      <a:pt x="185310" y="13778"/>
                      <a:pt x="180975" y="16668"/>
                    </a:cubicBezTo>
                    <a:cubicBezTo>
                      <a:pt x="178886" y="18060"/>
                      <a:pt x="176076" y="17927"/>
                      <a:pt x="173831" y="19050"/>
                    </a:cubicBezTo>
                    <a:cubicBezTo>
                      <a:pt x="157390" y="27270"/>
                      <a:pt x="176981" y="21239"/>
                      <a:pt x="157162" y="26193"/>
                    </a:cubicBezTo>
                    <a:cubicBezTo>
                      <a:pt x="152400" y="29368"/>
                      <a:pt x="148305" y="33908"/>
                      <a:pt x="142875" y="35718"/>
                    </a:cubicBezTo>
                    <a:cubicBezTo>
                      <a:pt x="135718" y="38104"/>
                      <a:pt x="134740" y="37735"/>
                      <a:pt x="128587" y="42862"/>
                    </a:cubicBezTo>
                    <a:cubicBezTo>
                      <a:pt x="126000" y="45018"/>
                      <a:pt x="124031" y="47850"/>
                      <a:pt x="121444" y="50006"/>
                    </a:cubicBezTo>
                    <a:cubicBezTo>
                      <a:pt x="114745" y="55589"/>
                      <a:pt x="108907" y="57307"/>
                      <a:pt x="100012" y="59531"/>
                    </a:cubicBezTo>
                    <a:cubicBezTo>
                      <a:pt x="85613" y="63130"/>
                      <a:pt x="93598" y="60875"/>
                      <a:pt x="76200" y="66675"/>
                    </a:cubicBezTo>
                    <a:lnTo>
                      <a:pt x="69056" y="69056"/>
                    </a:lnTo>
                    <a:cubicBezTo>
                      <a:pt x="44561" y="62932"/>
                      <a:pt x="56486" y="65219"/>
                      <a:pt x="33337" y="61912"/>
                    </a:cubicBezTo>
                    <a:cubicBezTo>
                      <a:pt x="30956" y="60325"/>
                      <a:pt x="28824" y="58277"/>
                      <a:pt x="26194" y="57150"/>
                    </a:cubicBezTo>
                    <a:cubicBezTo>
                      <a:pt x="17491" y="53420"/>
                      <a:pt x="9394" y="54768"/>
                      <a:pt x="0" y="54768"/>
                    </a:cubicBezTo>
                  </a:path>
                </a:pathLst>
              </a:cu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" name="Freeform: Shape 113">
                <a:extLst>
                  <a:ext uri="{FF2B5EF4-FFF2-40B4-BE49-F238E27FC236}">
                    <a16:creationId xmlns:a16="http://schemas.microsoft.com/office/drawing/2014/main" id="{9D6D0D89-649E-4AA9-A812-BD47B8081881}"/>
                  </a:ext>
                </a:extLst>
              </p:cNvPr>
              <p:cNvSpPr/>
              <p:nvPr/>
            </p:nvSpPr>
            <p:spPr>
              <a:xfrm>
                <a:off x="7146131" y="2867007"/>
                <a:ext cx="19050" cy="9543"/>
              </a:xfrm>
              <a:custGeom>
                <a:avLst/>
                <a:gdLst>
                  <a:gd name="connsiteX0" fmla="*/ 19050 w 19050"/>
                  <a:gd name="connsiteY0" fmla="*/ 9543 h 9543"/>
                  <a:gd name="connsiteX1" fmla="*/ 0 w 19050"/>
                  <a:gd name="connsiteY1" fmla="*/ 18 h 9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 h="9543">
                    <a:moveTo>
                      <a:pt x="19050" y="9543"/>
                    </a:moveTo>
                    <a:cubicBezTo>
                      <a:pt x="3442" y="-863"/>
                      <a:pt x="10487" y="18"/>
                      <a:pt x="0" y="18"/>
                    </a:cubicBezTo>
                  </a:path>
                </a:pathLst>
              </a:cu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" name="Freeform: Shape 114">
                <a:extLst>
                  <a:ext uri="{FF2B5EF4-FFF2-40B4-BE49-F238E27FC236}">
                    <a16:creationId xmlns:a16="http://schemas.microsoft.com/office/drawing/2014/main" id="{9ED92EF3-4702-4398-B09D-4F89DDB2465F}"/>
                  </a:ext>
                </a:extLst>
              </p:cNvPr>
              <p:cNvSpPr/>
              <p:nvPr/>
            </p:nvSpPr>
            <p:spPr>
              <a:xfrm>
                <a:off x="7141369" y="2878931"/>
                <a:ext cx="26194" cy="74106"/>
              </a:xfrm>
              <a:custGeom>
                <a:avLst/>
                <a:gdLst>
                  <a:gd name="connsiteX0" fmla="*/ 14287 w 26194"/>
                  <a:gd name="connsiteY0" fmla="*/ 0 h 74106"/>
                  <a:gd name="connsiteX1" fmla="*/ 2381 w 26194"/>
                  <a:gd name="connsiteY1" fmla="*/ 7144 h 74106"/>
                  <a:gd name="connsiteX2" fmla="*/ 0 w 26194"/>
                  <a:gd name="connsiteY2" fmla="*/ 19050 h 74106"/>
                  <a:gd name="connsiteX3" fmla="*/ 2381 w 26194"/>
                  <a:gd name="connsiteY3" fmla="*/ 64294 h 74106"/>
                  <a:gd name="connsiteX4" fmla="*/ 4762 w 26194"/>
                  <a:gd name="connsiteY4" fmla="*/ 71438 h 74106"/>
                  <a:gd name="connsiteX5" fmla="*/ 26194 w 26194"/>
                  <a:gd name="connsiteY5" fmla="*/ 73819 h 74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194" h="74106">
                    <a:moveTo>
                      <a:pt x="14287" y="0"/>
                    </a:moveTo>
                    <a:cubicBezTo>
                      <a:pt x="10318" y="2381"/>
                      <a:pt x="5158" y="3441"/>
                      <a:pt x="2381" y="7144"/>
                    </a:cubicBezTo>
                    <a:cubicBezTo>
                      <a:pt x="-47" y="10382"/>
                      <a:pt x="0" y="15003"/>
                      <a:pt x="0" y="19050"/>
                    </a:cubicBezTo>
                    <a:cubicBezTo>
                      <a:pt x="0" y="34152"/>
                      <a:pt x="1014" y="49254"/>
                      <a:pt x="2381" y="64294"/>
                    </a:cubicBezTo>
                    <a:cubicBezTo>
                      <a:pt x="2608" y="66794"/>
                      <a:pt x="2987" y="69663"/>
                      <a:pt x="4762" y="71438"/>
                    </a:cubicBezTo>
                    <a:cubicBezTo>
                      <a:pt x="8649" y="75325"/>
                      <a:pt x="24149" y="73819"/>
                      <a:pt x="26194" y="73819"/>
                    </a:cubicBezTo>
                  </a:path>
                </a:pathLst>
              </a:cu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" name="Freeform: Shape 115">
                <a:extLst>
                  <a:ext uri="{FF2B5EF4-FFF2-40B4-BE49-F238E27FC236}">
                    <a16:creationId xmlns:a16="http://schemas.microsoft.com/office/drawing/2014/main" id="{4441E885-847F-4A59-BCA9-9F53F2468408}"/>
                  </a:ext>
                </a:extLst>
              </p:cNvPr>
              <p:cNvSpPr/>
              <p:nvPr/>
            </p:nvSpPr>
            <p:spPr>
              <a:xfrm>
                <a:off x="7141278" y="2868906"/>
                <a:ext cx="33698" cy="26694"/>
              </a:xfrm>
              <a:custGeom>
                <a:avLst/>
                <a:gdLst>
                  <a:gd name="connsiteX0" fmla="*/ 9616 w 33698"/>
                  <a:gd name="connsiteY0" fmla="*/ 500 h 26694"/>
                  <a:gd name="connsiteX1" fmla="*/ 91 w 33698"/>
                  <a:gd name="connsiteY1" fmla="*/ 12407 h 26694"/>
                  <a:gd name="connsiteX2" fmla="*/ 4853 w 33698"/>
                  <a:gd name="connsiteY2" fmla="*/ 19550 h 26694"/>
                  <a:gd name="connsiteX3" fmla="*/ 19141 w 33698"/>
                  <a:gd name="connsiteY3" fmla="*/ 26694 h 26694"/>
                  <a:gd name="connsiteX4" fmla="*/ 21522 w 33698"/>
                  <a:gd name="connsiteY4" fmla="*/ 17169 h 26694"/>
                  <a:gd name="connsiteX5" fmla="*/ 33428 w 33698"/>
                  <a:gd name="connsiteY5" fmla="*/ 12407 h 26694"/>
                  <a:gd name="connsiteX6" fmla="*/ 28666 w 33698"/>
                  <a:gd name="connsiteY6" fmla="*/ 5263 h 26694"/>
                  <a:gd name="connsiteX7" fmla="*/ 9616 w 33698"/>
                  <a:gd name="connsiteY7" fmla="*/ 500 h 26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698" h="26694">
                    <a:moveTo>
                      <a:pt x="9616" y="500"/>
                    </a:moveTo>
                    <a:cubicBezTo>
                      <a:pt x="4854" y="1691"/>
                      <a:pt x="1324" y="7476"/>
                      <a:pt x="91" y="12407"/>
                    </a:cubicBezTo>
                    <a:cubicBezTo>
                      <a:pt x="-603" y="15183"/>
                      <a:pt x="2830" y="17527"/>
                      <a:pt x="4853" y="19550"/>
                    </a:cubicBezTo>
                    <a:cubicBezTo>
                      <a:pt x="9470" y="24167"/>
                      <a:pt x="13329" y="24757"/>
                      <a:pt x="19141" y="26694"/>
                    </a:cubicBezTo>
                    <a:cubicBezTo>
                      <a:pt x="19935" y="23519"/>
                      <a:pt x="19208" y="19483"/>
                      <a:pt x="21522" y="17169"/>
                    </a:cubicBezTo>
                    <a:cubicBezTo>
                      <a:pt x="24544" y="14147"/>
                      <a:pt x="31229" y="16072"/>
                      <a:pt x="33428" y="12407"/>
                    </a:cubicBezTo>
                    <a:cubicBezTo>
                      <a:pt x="34900" y="9953"/>
                      <a:pt x="29946" y="7823"/>
                      <a:pt x="28666" y="5263"/>
                    </a:cubicBezTo>
                    <a:cubicBezTo>
                      <a:pt x="26034" y="-2"/>
                      <a:pt x="14378" y="-691"/>
                      <a:pt x="9616" y="500"/>
                    </a:cubicBezTo>
                    <a:close/>
                  </a:path>
                </a:pathLst>
              </a:cu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1" name="TextBox 109">
              <a:extLst>
                <a:ext uri="{FF2B5EF4-FFF2-40B4-BE49-F238E27FC236}">
                  <a16:creationId xmlns:a16="http://schemas.microsoft.com/office/drawing/2014/main" id="{2E7045C0-041A-446B-AE68-F21D07E8C369}"/>
                </a:ext>
              </a:extLst>
            </p:cNvPr>
            <p:cNvSpPr txBox="1"/>
            <p:nvPr/>
          </p:nvSpPr>
          <p:spPr>
            <a:xfrm>
              <a:off x="7542410" y="2799045"/>
              <a:ext cx="514885" cy="246221"/>
            </a:xfrm>
            <a:prstGeom prst="rect">
              <a:avLst/>
            </a:prstGeom>
            <a:noFill/>
            <a:ln>
              <a:solidFill>
                <a:srgbClr val="FF8C00"/>
              </a:solidFill>
            </a:ln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00" b="1" dirty="0">
                  <a:solidFill>
                    <a:prstClr val="black"/>
                  </a:solidFill>
                  <a:latin typeface="Calibri"/>
                </a:rPr>
                <a:t>10 m2</a:t>
              </a:r>
              <a:endPara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7703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77D75579-246F-4B6A-BD53-ECE051CEDF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6308" y="257176"/>
            <a:ext cx="6733964" cy="1739714"/>
          </a:xfrm>
        </p:spPr>
        <p:txBody>
          <a:bodyPr/>
          <a:lstStyle/>
          <a:p>
            <a:r>
              <a:rPr lang="da-DK" dirty="0"/>
              <a:t>Algoritmer pga. metadata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CE9B95F0-D4E5-4D9D-880C-9314A16E87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355" y="737623"/>
            <a:ext cx="6733964" cy="39312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4" name="Group 107">
            <a:extLst>
              <a:ext uri="{FF2B5EF4-FFF2-40B4-BE49-F238E27FC236}">
                <a16:creationId xmlns:a16="http://schemas.microsoft.com/office/drawing/2014/main" id="{3239815F-FCF2-4A9B-AE08-9FF57BAF5DB1}"/>
              </a:ext>
            </a:extLst>
          </p:cNvPr>
          <p:cNvGrpSpPr/>
          <p:nvPr/>
        </p:nvGrpSpPr>
        <p:grpSpPr>
          <a:xfrm rot="2552794">
            <a:off x="1393994" y="1574927"/>
            <a:ext cx="2018075" cy="450850"/>
            <a:chOff x="6931819" y="2717528"/>
            <a:chExt cx="1775041" cy="450850"/>
          </a:xfrm>
        </p:grpSpPr>
        <p:grpSp>
          <p:nvGrpSpPr>
            <p:cNvPr id="5" name="Group 108">
              <a:extLst>
                <a:ext uri="{FF2B5EF4-FFF2-40B4-BE49-F238E27FC236}">
                  <a16:creationId xmlns:a16="http://schemas.microsoft.com/office/drawing/2014/main" id="{F9BE233E-51DD-43D2-8751-CC452AA55226}"/>
                </a:ext>
              </a:extLst>
            </p:cNvPr>
            <p:cNvGrpSpPr/>
            <p:nvPr/>
          </p:nvGrpSpPr>
          <p:grpSpPr>
            <a:xfrm>
              <a:off x="6931819" y="2717528"/>
              <a:ext cx="1775041" cy="450850"/>
              <a:chOff x="6931819" y="2717528"/>
              <a:chExt cx="1775041" cy="450850"/>
            </a:xfrm>
          </p:grpSpPr>
          <p:grpSp>
            <p:nvGrpSpPr>
              <p:cNvPr id="7" name="Group 110">
                <a:extLst>
                  <a:ext uri="{FF2B5EF4-FFF2-40B4-BE49-F238E27FC236}">
                    <a16:creationId xmlns:a16="http://schemas.microsoft.com/office/drawing/2014/main" id="{BB8358D7-E67E-449F-8FE2-776A7169ACCA}"/>
                  </a:ext>
                </a:extLst>
              </p:cNvPr>
              <p:cNvGrpSpPr/>
              <p:nvPr/>
            </p:nvGrpSpPr>
            <p:grpSpPr>
              <a:xfrm>
                <a:off x="7164783" y="2717528"/>
                <a:ext cx="1542077" cy="450850"/>
                <a:chOff x="7164783" y="2717528"/>
                <a:chExt cx="1542077" cy="450850"/>
              </a:xfrm>
            </p:grpSpPr>
            <p:sp>
              <p:nvSpPr>
                <p:cNvPr id="13" name="Freeform: Shape 116">
                  <a:extLst>
                    <a:ext uri="{FF2B5EF4-FFF2-40B4-BE49-F238E27FC236}">
                      <a16:creationId xmlns:a16="http://schemas.microsoft.com/office/drawing/2014/main" id="{87E30C4A-CF04-423A-8432-10BB18CF72B7}"/>
                    </a:ext>
                  </a:extLst>
                </p:cNvPr>
                <p:cNvSpPr/>
                <p:nvPr/>
              </p:nvSpPr>
              <p:spPr>
                <a:xfrm>
                  <a:off x="7164783" y="2717528"/>
                  <a:ext cx="1542077" cy="450850"/>
                </a:xfrm>
                <a:custGeom>
                  <a:avLst/>
                  <a:gdLst>
                    <a:gd name="connsiteX0" fmla="*/ 812800 w 815975"/>
                    <a:gd name="connsiteY0" fmla="*/ 0 h 450850"/>
                    <a:gd name="connsiteX1" fmla="*/ 225425 w 815975"/>
                    <a:gd name="connsiteY1" fmla="*/ 0 h 450850"/>
                    <a:gd name="connsiteX2" fmla="*/ 0 w 815975"/>
                    <a:gd name="connsiteY2" fmla="*/ 225425 h 450850"/>
                    <a:gd name="connsiteX3" fmla="*/ 225425 w 815975"/>
                    <a:gd name="connsiteY3" fmla="*/ 450850 h 450850"/>
                    <a:gd name="connsiteX4" fmla="*/ 815975 w 815975"/>
                    <a:gd name="connsiteY4" fmla="*/ 450850 h 450850"/>
                    <a:gd name="connsiteX5" fmla="*/ 812800 w 815975"/>
                    <a:gd name="connsiteY5" fmla="*/ 0 h 450850"/>
                    <a:gd name="connsiteX0" fmla="*/ 812800 w 815975"/>
                    <a:gd name="connsiteY0" fmla="*/ 0 h 450850"/>
                    <a:gd name="connsiteX1" fmla="*/ 225425 w 815975"/>
                    <a:gd name="connsiteY1" fmla="*/ 0 h 450850"/>
                    <a:gd name="connsiteX2" fmla="*/ 107728 w 815975"/>
                    <a:gd name="connsiteY2" fmla="*/ 112469 h 450850"/>
                    <a:gd name="connsiteX3" fmla="*/ 0 w 815975"/>
                    <a:gd name="connsiteY3" fmla="*/ 225425 h 450850"/>
                    <a:gd name="connsiteX4" fmla="*/ 225425 w 815975"/>
                    <a:gd name="connsiteY4" fmla="*/ 450850 h 450850"/>
                    <a:gd name="connsiteX5" fmla="*/ 815975 w 815975"/>
                    <a:gd name="connsiteY5" fmla="*/ 450850 h 450850"/>
                    <a:gd name="connsiteX6" fmla="*/ 812800 w 815975"/>
                    <a:gd name="connsiteY6" fmla="*/ 0 h 450850"/>
                    <a:gd name="connsiteX0" fmla="*/ 812800 w 815975"/>
                    <a:gd name="connsiteY0" fmla="*/ 0 h 450850"/>
                    <a:gd name="connsiteX1" fmla="*/ 225425 w 815975"/>
                    <a:gd name="connsiteY1" fmla="*/ 0 h 450850"/>
                    <a:gd name="connsiteX2" fmla="*/ 107728 w 815975"/>
                    <a:gd name="connsiteY2" fmla="*/ 112469 h 450850"/>
                    <a:gd name="connsiteX3" fmla="*/ 0 w 815975"/>
                    <a:gd name="connsiteY3" fmla="*/ 225425 h 450850"/>
                    <a:gd name="connsiteX4" fmla="*/ 106071 w 815975"/>
                    <a:gd name="connsiteY4" fmla="*/ 336306 h 450850"/>
                    <a:gd name="connsiteX5" fmla="*/ 225425 w 815975"/>
                    <a:gd name="connsiteY5" fmla="*/ 450850 h 450850"/>
                    <a:gd name="connsiteX6" fmla="*/ 815975 w 815975"/>
                    <a:gd name="connsiteY6" fmla="*/ 450850 h 450850"/>
                    <a:gd name="connsiteX7" fmla="*/ 812800 w 815975"/>
                    <a:gd name="connsiteY7" fmla="*/ 0 h 450850"/>
                    <a:gd name="connsiteX0" fmla="*/ 812800 w 815975"/>
                    <a:gd name="connsiteY0" fmla="*/ 0 h 450850"/>
                    <a:gd name="connsiteX1" fmla="*/ 225425 w 815975"/>
                    <a:gd name="connsiteY1" fmla="*/ 0 h 450850"/>
                    <a:gd name="connsiteX2" fmla="*/ 107728 w 815975"/>
                    <a:gd name="connsiteY2" fmla="*/ 112469 h 450850"/>
                    <a:gd name="connsiteX3" fmla="*/ 0 w 815975"/>
                    <a:gd name="connsiteY3" fmla="*/ 225425 h 450850"/>
                    <a:gd name="connsiteX4" fmla="*/ 106071 w 815975"/>
                    <a:gd name="connsiteY4" fmla="*/ 336306 h 450850"/>
                    <a:gd name="connsiteX5" fmla="*/ 225425 w 815975"/>
                    <a:gd name="connsiteY5" fmla="*/ 450850 h 450850"/>
                    <a:gd name="connsiteX6" fmla="*/ 815975 w 815975"/>
                    <a:gd name="connsiteY6" fmla="*/ 450850 h 450850"/>
                    <a:gd name="connsiteX7" fmla="*/ 812800 w 815975"/>
                    <a:gd name="connsiteY7" fmla="*/ 0 h 450850"/>
                    <a:gd name="connsiteX0" fmla="*/ 776340 w 779515"/>
                    <a:gd name="connsiteY0" fmla="*/ 0 h 450850"/>
                    <a:gd name="connsiteX1" fmla="*/ 188965 w 779515"/>
                    <a:gd name="connsiteY1" fmla="*/ 0 h 450850"/>
                    <a:gd name="connsiteX2" fmla="*/ 71268 w 779515"/>
                    <a:gd name="connsiteY2" fmla="*/ 112469 h 450850"/>
                    <a:gd name="connsiteX3" fmla="*/ 2 w 779515"/>
                    <a:gd name="connsiteY3" fmla="*/ 232569 h 450850"/>
                    <a:gd name="connsiteX4" fmla="*/ 69611 w 779515"/>
                    <a:gd name="connsiteY4" fmla="*/ 336306 h 450850"/>
                    <a:gd name="connsiteX5" fmla="*/ 188965 w 779515"/>
                    <a:gd name="connsiteY5" fmla="*/ 450850 h 450850"/>
                    <a:gd name="connsiteX6" fmla="*/ 779515 w 779515"/>
                    <a:gd name="connsiteY6" fmla="*/ 450850 h 450850"/>
                    <a:gd name="connsiteX7" fmla="*/ 776340 w 779515"/>
                    <a:gd name="connsiteY7" fmla="*/ 0 h 450850"/>
                    <a:gd name="connsiteX0" fmla="*/ 776340 w 779515"/>
                    <a:gd name="connsiteY0" fmla="*/ 0 h 450850"/>
                    <a:gd name="connsiteX1" fmla="*/ 188965 w 779515"/>
                    <a:gd name="connsiteY1" fmla="*/ 0 h 450850"/>
                    <a:gd name="connsiteX2" fmla="*/ 71268 w 779515"/>
                    <a:gd name="connsiteY2" fmla="*/ 124375 h 450850"/>
                    <a:gd name="connsiteX3" fmla="*/ 2 w 779515"/>
                    <a:gd name="connsiteY3" fmla="*/ 232569 h 450850"/>
                    <a:gd name="connsiteX4" fmla="*/ 69611 w 779515"/>
                    <a:gd name="connsiteY4" fmla="*/ 336306 h 450850"/>
                    <a:gd name="connsiteX5" fmla="*/ 188965 w 779515"/>
                    <a:gd name="connsiteY5" fmla="*/ 450850 h 450850"/>
                    <a:gd name="connsiteX6" fmla="*/ 779515 w 779515"/>
                    <a:gd name="connsiteY6" fmla="*/ 450850 h 450850"/>
                    <a:gd name="connsiteX7" fmla="*/ 776340 w 779515"/>
                    <a:gd name="connsiteY7" fmla="*/ 0 h 450850"/>
                    <a:gd name="connsiteX0" fmla="*/ 776340 w 779515"/>
                    <a:gd name="connsiteY0" fmla="*/ 0 h 450850"/>
                    <a:gd name="connsiteX1" fmla="*/ 188965 w 779515"/>
                    <a:gd name="connsiteY1" fmla="*/ 0 h 450850"/>
                    <a:gd name="connsiteX2" fmla="*/ 71268 w 779515"/>
                    <a:gd name="connsiteY2" fmla="*/ 117232 h 450850"/>
                    <a:gd name="connsiteX3" fmla="*/ 2 w 779515"/>
                    <a:gd name="connsiteY3" fmla="*/ 232569 h 450850"/>
                    <a:gd name="connsiteX4" fmla="*/ 69611 w 779515"/>
                    <a:gd name="connsiteY4" fmla="*/ 336306 h 450850"/>
                    <a:gd name="connsiteX5" fmla="*/ 188965 w 779515"/>
                    <a:gd name="connsiteY5" fmla="*/ 450850 h 450850"/>
                    <a:gd name="connsiteX6" fmla="*/ 779515 w 779515"/>
                    <a:gd name="connsiteY6" fmla="*/ 450850 h 450850"/>
                    <a:gd name="connsiteX7" fmla="*/ 776340 w 779515"/>
                    <a:gd name="connsiteY7" fmla="*/ 0 h 450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79515" h="450850">
                      <a:moveTo>
                        <a:pt x="776340" y="0"/>
                      </a:moveTo>
                      <a:lnTo>
                        <a:pt x="188965" y="0"/>
                      </a:lnTo>
                      <a:lnTo>
                        <a:pt x="71268" y="117232"/>
                      </a:lnTo>
                      <a:cubicBezTo>
                        <a:pt x="33697" y="154803"/>
                        <a:pt x="278" y="196057"/>
                        <a:pt x="2" y="232569"/>
                      </a:cubicBezTo>
                      <a:cubicBezTo>
                        <a:pt x="-274" y="269081"/>
                        <a:pt x="32040" y="298735"/>
                        <a:pt x="69611" y="336306"/>
                      </a:cubicBezTo>
                      <a:lnTo>
                        <a:pt x="188965" y="450850"/>
                      </a:lnTo>
                      <a:lnTo>
                        <a:pt x="779515" y="450850"/>
                      </a:lnTo>
                      <a:cubicBezTo>
                        <a:pt x="778457" y="300567"/>
                        <a:pt x="777398" y="150283"/>
                        <a:pt x="77634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solidFill>
                    <a:srgbClr val="FF8C00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Rectangle: Rounded Corners 117">
                  <a:extLst>
                    <a:ext uri="{FF2B5EF4-FFF2-40B4-BE49-F238E27FC236}">
                      <a16:creationId xmlns:a16="http://schemas.microsoft.com/office/drawing/2014/main" id="{079EA556-AE88-49A6-B112-949638219755}"/>
                    </a:ext>
                  </a:extLst>
                </p:cNvPr>
                <p:cNvSpPr/>
                <p:nvPr/>
              </p:nvSpPr>
              <p:spPr>
                <a:xfrm>
                  <a:off x="7506744" y="2749137"/>
                  <a:ext cx="1160336" cy="386677"/>
                </a:xfrm>
                <a:prstGeom prst="roundRect">
                  <a:avLst>
                    <a:gd name="adj" fmla="val 9976"/>
                  </a:avLst>
                </a:prstGeom>
                <a:solidFill>
                  <a:schemeClr val="bg1"/>
                </a:solidFill>
                <a:ln>
                  <a:solidFill>
                    <a:srgbClr val="FF8C00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" name="Oval 111">
                <a:extLst>
                  <a:ext uri="{FF2B5EF4-FFF2-40B4-BE49-F238E27FC236}">
                    <a16:creationId xmlns:a16="http://schemas.microsoft.com/office/drawing/2014/main" id="{3DB2100F-731E-452B-8D96-25C3E391401D}"/>
                  </a:ext>
                </a:extLst>
              </p:cNvPr>
              <p:cNvSpPr/>
              <p:nvPr/>
            </p:nvSpPr>
            <p:spPr>
              <a:xfrm>
                <a:off x="7215186" y="2915768"/>
                <a:ext cx="63177" cy="63177"/>
              </a:xfrm>
              <a:prstGeom prst="ellipse">
                <a:avLst/>
              </a:pr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" name="Freeform: Shape 112">
                <a:extLst>
                  <a:ext uri="{FF2B5EF4-FFF2-40B4-BE49-F238E27FC236}">
                    <a16:creationId xmlns:a16="http://schemas.microsoft.com/office/drawing/2014/main" id="{83606E24-0A32-40D2-BD89-B247107ECA3C}"/>
                  </a:ext>
                </a:extLst>
              </p:cNvPr>
              <p:cNvSpPr/>
              <p:nvPr/>
            </p:nvSpPr>
            <p:spPr>
              <a:xfrm>
                <a:off x="6931819" y="2881313"/>
                <a:ext cx="307649" cy="76200"/>
              </a:xfrm>
              <a:custGeom>
                <a:avLst/>
                <a:gdLst>
                  <a:gd name="connsiteX0" fmla="*/ 288131 w 307649"/>
                  <a:gd name="connsiteY0" fmla="*/ 76200 h 76200"/>
                  <a:gd name="connsiteX1" fmla="*/ 307181 w 307649"/>
                  <a:gd name="connsiteY1" fmla="*/ 61912 h 76200"/>
                  <a:gd name="connsiteX2" fmla="*/ 300037 w 307649"/>
                  <a:gd name="connsiteY2" fmla="*/ 45243 h 76200"/>
                  <a:gd name="connsiteX3" fmla="*/ 285750 w 307649"/>
                  <a:gd name="connsiteY3" fmla="*/ 35718 h 76200"/>
                  <a:gd name="connsiteX4" fmla="*/ 280987 w 307649"/>
                  <a:gd name="connsiteY4" fmla="*/ 28575 h 76200"/>
                  <a:gd name="connsiteX5" fmla="*/ 266700 w 307649"/>
                  <a:gd name="connsiteY5" fmla="*/ 19050 h 76200"/>
                  <a:gd name="connsiteX6" fmla="*/ 247650 w 307649"/>
                  <a:gd name="connsiteY6" fmla="*/ 9525 h 76200"/>
                  <a:gd name="connsiteX7" fmla="*/ 240506 w 307649"/>
                  <a:gd name="connsiteY7" fmla="*/ 4762 h 76200"/>
                  <a:gd name="connsiteX8" fmla="*/ 230981 w 307649"/>
                  <a:gd name="connsiteY8" fmla="*/ 0 h 76200"/>
                  <a:gd name="connsiteX9" fmla="*/ 195262 w 307649"/>
                  <a:gd name="connsiteY9" fmla="*/ 4762 h 76200"/>
                  <a:gd name="connsiteX10" fmla="*/ 180975 w 307649"/>
                  <a:gd name="connsiteY10" fmla="*/ 16668 h 76200"/>
                  <a:gd name="connsiteX11" fmla="*/ 173831 w 307649"/>
                  <a:gd name="connsiteY11" fmla="*/ 19050 h 76200"/>
                  <a:gd name="connsiteX12" fmla="*/ 157162 w 307649"/>
                  <a:gd name="connsiteY12" fmla="*/ 26193 h 76200"/>
                  <a:gd name="connsiteX13" fmla="*/ 142875 w 307649"/>
                  <a:gd name="connsiteY13" fmla="*/ 35718 h 76200"/>
                  <a:gd name="connsiteX14" fmla="*/ 128587 w 307649"/>
                  <a:gd name="connsiteY14" fmla="*/ 42862 h 76200"/>
                  <a:gd name="connsiteX15" fmla="*/ 121444 w 307649"/>
                  <a:gd name="connsiteY15" fmla="*/ 50006 h 76200"/>
                  <a:gd name="connsiteX16" fmla="*/ 100012 w 307649"/>
                  <a:gd name="connsiteY16" fmla="*/ 59531 h 76200"/>
                  <a:gd name="connsiteX17" fmla="*/ 76200 w 307649"/>
                  <a:gd name="connsiteY17" fmla="*/ 66675 h 76200"/>
                  <a:gd name="connsiteX18" fmla="*/ 69056 w 307649"/>
                  <a:gd name="connsiteY18" fmla="*/ 69056 h 76200"/>
                  <a:gd name="connsiteX19" fmla="*/ 33337 w 307649"/>
                  <a:gd name="connsiteY19" fmla="*/ 61912 h 76200"/>
                  <a:gd name="connsiteX20" fmla="*/ 26194 w 307649"/>
                  <a:gd name="connsiteY20" fmla="*/ 57150 h 76200"/>
                  <a:gd name="connsiteX21" fmla="*/ 0 w 307649"/>
                  <a:gd name="connsiteY21" fmla="*/ 54768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07649" h="76200">
                    <a:moveTo>
                      <a:pt x="288131" y="76200"/>
                    </a:moveTo>
                    <a:cubicBezTo>
                      <a:pt x="300160" y="74481"/>
                      <a:pt x="309934" y="78431"/>
                      <a:pt x="307181" y="61912"/>
                    </a:cubicBezTo>
                    <a:cubicBezTo>
                      <a:pt x="306187" y="55949"/>
                      <a:pt x="303865" y="49922"/>
                      <a:pt x="300037" y="45243"/>
                    </a:cubicBezTo>
                    <a:cubicBezTo>
                      <a:pt x="296413" y="40813"/>
                      <a:pt x="285750" y="35718"/>
                      <a:pt x="285750" y="35718"/>
                    </a:cubicBezTo>
                    <a:cubicBezTo>
                      <a:pt x="284162" y="33337"/>
                      <a:pt x="283141" y="30459"/>
                      <a:pt x="280987" y="28575"/>
                    </a:cubicBezTo>
                    <a:cubicBezTo>
                      <a:pt x="276679" y="24806"/>
                      <a:pt x="266700" y="19050"/>
                      <a:pt x="266700" y="19050"/>
                    </a:cubicBezTo>
                    <a:cubicBezTo>
                      <a:pt x="262046" y="5085"/>
                      <a:pt x="267919" y="15606"/>
                      <a:pt x="247650" y="9525"/>
                    </a:cubicBezTo>
                    <a:cubicBezTo>
                      <a:pt x="244909" y="8703"/>
                      <a:pt x="242991" y="6182"/>
                      <a:pt x="240506" y="4762"/>
                    </a:cubicBezTo>
                    <a:cubicBezTo>
                      <a:pt x="237424" y="3001"/>
                      <a:pt x="234156" y="1587"/>
                      <a:pt x="230981" y="0"/>
                    </a:cubicBezTo>
                    <a:cubicBezTo>
                      <a:pt x="219075" y="1587"/>
                      <a:pt x="206988" y="2156"/>
                      <a:pt x="195262" y="4762"/>
                    </a:cubicBezTo>
                    <a:cubicBezTo>
                      <a:pt x="189424" y="6059"/>
                      <a:pt x="185310" y="13778"/>
                      <a:pt x="180975" y="16668"/>
                    </a:cubicBezTo>
                    <a:cubicBezTo>
                      <a:pt x="178886" y="18060"/>
                      <a:pt x="176076" y="17927"/>
                      <a:pt x="173831" y="19050"/>
                    </a:cubicBezTo>
                    <a:cubicBezTo>
                      <a:pt x="157390" y="27270"/>
                      <a:pt x="176981" y="21239"/>
                      <a:pt x="157162" y="26193"/>
                    </a:cubicBezTo>
                    <a:cubicBezTo>
                      <a:pt x="152400" y="29368"/>
                      <a:pt x="148305" y="33908"/>
                      <a:pt x="142875" y="35718"/>
                    </a:cubicBezTo>
                    <a:cubicBezTo>
                      <a:pt x="135718" y="38104"/>
                      <a:pt x="134740" y="37735"/>
                      <a:pt x="128587" y="42862"/>
                    </a:cubicBezTo>
                    <a:cubicBezTo>
                      <a:pt x="126000" y="45018"/>
                      <a:pt x="124031" y="47850"/>
                      <a:pt x="121444" y="50006"/>
                    </a:cubicBezTo>
                    <a:cubicBezTo>
                      <a:pt x="114745" y="55589"/>
                      <a:pt x="108907" y="57307"/>
                      <a:pt x="100012" y="59531"/>
                    </a:cubicBezTo>
                    <a:cubicBezTo>
                      <a:pt x="85613" y="63130"/>
                      <a:pt x="93598" y="60875"/>
                      <a:pt x="76200" y="66675"/>
                    </a:cubicBezTo>
                    <a:lnTo>
                      <a:pt x="69056" y="69056"/>
                    </a:lnTo>
                    <a:cubicBezTo>
                      <a:pt x="44561" y="62932"/>
                      <a:pt x="56486" y="65219"/>
                      <a:pt x="33337" y="61912"/>
                    </a:cubicBezTo>
                    <a:cubicBezTo>
                      <a:pt x="30956" y="60325"/>
                      <a:pt x="28824" y="58277"/>
                      <a:pt x="26194" y="57150"/>
                    </a:cubicBezTo>
                    <a:cubicBezTo>
                      <a:pt x="17491" y="53420"/>
                      <a:pt x="9394" y="54768"/>
                      <a:pt x="0" y="54768"/>
                    </a:cubicBezTo>
                  </a:path>
                </a:pathLst>
              </a:cu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" name="Freeform: Shape 113">
                <a:extLst>
                  <a:ext uri="{FF2B5EF4-FFF2-40B4-BE49-F238E27FC236}">
                    <a16:creationId xmlns:a16="http://schemas.microsoft.com/office/drawing/2014/main" id="{94DB9C72-05C0-42F7-B21C-C58DFB21CA93}"/>
                  </a:ext>
                </a:extLst>
              </p:cNvPr>
              <p:cNvSpPr/>
              <p:nvPr/>
            </p:nvSpPr>
            <p:spPr>
              <a:xfrm>
                <a:off x="7146131" y="2867007"/>
                <a:ext cx="19050" cy="9543"/>
              </a:xfrm>
              <a:custGeom>
                <a:avLst/>
                <a:gdLst>
                  <a:gd name="connsiteX0" fmla="*/ 19050 w 19050"/>
                  <a:gd name="connsiteY0" fmla="*/ 9543 h 9543"/>
                  <a:gd name="connsiteX1" fmla="*/ 0 w 19050"/>
                  <a:gd name="connsiteY1" fmla="*/ 18 h 9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 h="9543">
                    <a:moveTo>
                      <a:pt x="19050" y="9543"/>
                    </a:moveTo>
                    <a:cubicBezTo>
                      <a:pt x="3442" y="-863"/>
                      <a:pt x="10487" y="18"/>
                      <a:pt x="0" y="18"/>
                    </a:cubicBezTo>
                  </a:path>
                </a:pathLst>
              </a:cu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" name="Freeform: Shape 114">
                <a:extLst>
                  <a:ext uri="{FF2B5EF4-FFF2-40B4-BE49-F238E27FC236}">
                    <a16:creationId xmlns:a16="http://schemas.microsoft.com/office/drawing/2014/main" id="{EA143E17-F135-4C0C-8238-E68C0F6BCF1A}"/>
                  </a:ext>
                </a:extLst>
              </p:cNvPr>
              <p:cNvSpPr/>
              <p:nvPr/>
            </p:nvSpPr>
            <p:spPr>
              <a:xfrm>
                <a:off x="7141369" y="2878931"/>
                <a:ext cx="26194" cy="74106"/>
              </a:xfrm>
              <a:custGeom>
                <a:avLst/>
                <a:gdLst>
                  <a:gd name="connsiteX0" fmla="*/ 14287 w 26194"/>
                  <a:gd name="connsiteY0" fmla="*/ 0 h 74106"/>
                  <a:gd name="connsiteX1" fmla="*/ 2381 w 26194"/>
                  <a:gd name="connsiteY1" fmla="*/ 7144 h 74106"/>
                  <a:gd name="connsiteX2" fmla="*/ 0 w 26194"/>
                  <a:gd name="connsiteY2" fmla="*/ 19050 h 74106"/>
                  <a:gd name="connsiteX3" fmla="*/ 2381 w 26194"/>
                  <a:gd name="connsiteY3" fmla="*/ 64294 h 74106"/>
                  <a:gd name="connsiteX4" fmla="*/ 4762 w 26194"/>
                  <a:gd name="connsiteY4" fmla="*/ 71438 h 74106"/>
                  <a:gd name="connsiteX5" fmla="*/ 26194 w 26194"/>
                  <a:gd name="connsiteY5" fmla="*/ 73819 h 74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194" h="74106">
                    <a:moveTo>
                      <a:pt x="14287" y="0"/>
                    </a:moveTo>
                    <a:cubicBezTo>
                      <a:pt x="10318" y="2381"/>
                      <a:pt x="5158" y="3441"/>
                      <a:pt x="2381" y="7144"/>
                    </a:cubicBezTo>
                    <a:cubicBezTo>
                      <a:pt x="-47" y="10382"/>
                      <a:pt x="0" y="15003"/>
                      <a:pt x="0" y="19050"/>
                    </a:cubicBezTo>
                    <a:cubicBezTo>
                      <a:pt x="0" y="34152"/>
                      <a:pt x="1014" y="49254"/>
                      <a:pt x="2381" y="64294"/>
                    </a:cubicBezTo>
                    <a:cubicBezTo>
                      <a:pt x="2608" y="66794"/>
                      <a:pt x="2987" y="69663"/>
                      <a:pt x="4762" y="71438"/>
                    </a:cubicBezTo>
                    <a:cubicBezTo>
                      <a:pt x="8649" y="75325"/>
                      <a:pt x="24149" y="73819"/>
                      <a:pt x="26194" y="73819"/>
                    </a:cubicBezTo>
                  </a:path>
                </a:pathLst>
              </a:cu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" name="Freeform: Shape 115">
                <a:extLst>
                  <a:ext uri="{FF2B5EF4-FFF2-40B4-BE49-F238E27FC236}">
                    <a16:creationId xmlns:a16="http://schemas.microsoft.com/office/drawing/2014/main" id="{AF4481F1-6AF5-43F2-ADCF-5888AD6AD18D}"/>
                  </a:ext>
                </a:extLst>
              </p:cNvPr>
              <p:cNvSpPr/>
              <p:nvPr/>
            </p:nvSpPr>
            <p:spPr>
              <a:xfrm>
                <a:off x="7141278" y="2868906"/>
                <a:ext cx="33698" cy="26694"/>
              </a:xfrm>
              <a:custGeom>
                <a:avLst/>
                <a:gdLst>
                  <a:gd name="connsiteX0" fmla="*/ 9616 w 33698"/>
                  <a:gd name="connsiteY0" fmla="*/ 500 h 26694"/>
                  <a:gd name="connsiteX1" fmla="*/ 91 w 33698"/>
                  <a:gd name="connsiteY1" fmla="*/ 12407 h 26694"/>
                  <a:gd name="connsiteX2" fmla="*/ 4853 w 33698"/>
                  <a:gd name="connsiteY2" fmla="*/ 19550 h 26694"/>
                  <a:gd name="connsiteX3" fmla="*/ 19141 w 33698"/>
                  <a:gd name="connsiteY3" fmla="*/ 26694 h 26694"/>
                  <a:gd name="connsiteX4" fmla="*/ 21522 w 33698"/>
                  <a:gd name="connsiteY4" fmla="*/ 17169 h 26694"/>
                  <a:gd name="connsiteX5" fmla="*/ 33428 w 33698"/>
                  <a:gd name="connsiteY5" fmla="*/ 12407 h 26694"/>
                  <a:gd name="connsiteX6" fmla="*/ 28666 w 33698"/>
                  <a:gd name="connsiteY6" fmla="*/ 5263 h 26694"/>
                  <a:gd name="connsiteX7" fmla="*/ 9616 w 33698"/>
                  <a:gd name="connsiteY7" fmla="*/ 500 h 26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698" h="26694">
                    <a:moveTo>
                      <a:pt x="9616" y="500"/>
                    </a:moveTo>
                    <a:cubicBezTo>
                      <a:pt x="4854" y="1691"/>
                      <a:pt x="1324" y="7476"/>
                      <a:pt x="91" y="12407"/>
                    </a:cubicBezTo>
                    <a:cubicBezTo>
                      <a:pt x="-603" y="15183"/>
                      <a:pt x="2830" y="17527"/>
                      <a:pt x="4853" y="19550"/>
                    </a:cubicBezTo>
                    <a:cubicBezTo>
                      <a:pt x="9470" y="24167"/>
                      <a:pt x="13329" y="24757"/>
                      <a:pt x="19141" y="26694"/>
                    </a:cubicBezTo>
                    <a:cubicBezTo>
                      <a:pt x="19935" y="23519"/>
                      <a:pt x="19208" y="19483"/>
                      <a:pt x="21522" y="17169"/>
                    </a:cubicBezTo>
                    <a:cubicBezTo>
                      <a:pt x="24544" y="14147"/>
                      <a:pt x="31229" y="16072"/>
                      <a:pt x="33428" y="12407"/>
                    </a:cubicBezTo>
                    <a:cubicBezTo>
                      <a:pt x="34900" y="9953"/>
                      <a:pt x="29946" y="7823"/>
                      <a:pt x="28666" y="5263"/>
                    </a:cubicBezTo>
                    <a:cubicBezTo>
                      <a:pt x="26034" y="-2"/>
                      <a:pt x="14378" y="-691"/>
                      <a:pt x="9616" y="500"/>
                    </a:cubicBezTo>
                    <a:close/>
                  </a:path>
                </a:pathLst>
              </a:cu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" name="TextBox 109">
              <a:extLst>
                <a:ext uri="{FF2B5EF4-FFF2-40B4-BE49-F238E27FC236}">
                  <a16:creationId xmlns:a16="http://schemas.microsoft.com/office/drawing/2014/main" id="{6812F8EA-10BC-44F3-9D26-EC42CE57D017}"/>
                </a:ext>
              </a:extLst>
            </p:cNvPr>
            <p:cNvSpPr txBox="1"/>
            <p:nvPr/>
          </p:nvSpPr>
          <p:spPr>
            <a:xfrm>
              <a:off x="7578926" y="2821831"/>
              <a:ext cx="1019954" cy="246221"/>
            </a:xfrm>
            <a:prstGeom prst="rect">
              <a:avLst/>
            </a:prstGeom>
            <a:noFill/>
            <a:ln>
              <a:solidFill>
                <a:srgbClr val="FF8C00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00" b="1" dirty="0">
                  <a:solidFill>
                    <a:prstClr val="black"/>
                  </a:solidFill>
                  <a:latin typeface="Calibri"/>
                </a:rPr>
                <a:t>a:supplyFanCmd</a:t>
              </a:r>
              <a:endPara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grpSp>
        <p:nvGrpSpPr>
          <p:cNvPr id="15" name="Group 107">
            <a:extLst>
              <a:ext uri="{FF2B5EF4-FFF2-40B4-BE49-F238E27FC236}">
                <a16:creationId xmlns:a16="http://schemas.microsoft.com/office/drawing/2014/main" id="{C846342B-6A1D-4C01-A4B3-990740A45B0D}"/>
              </a:ext>
            </a:extLst>
          </p:cNvPr>
          <p:cNvGrpSpPr/>
          <p:nvPr/>
        </p:nvGrpSpPr>
        <p:grpSpPr>
          <a:xfrm rot="2552794">
            <a:off x="1429069" y="2639310"/>
            <a:ext cx="2183710" cy="450850"/>
            <a:chOff x="6931819" y="2717528"/>
            <a:chExt cx="1920729" cy="450850"/>
          </a:xfrm>
        </p:grpSpPr>
        <p:grpSp>
          <p:nvGrpSpPr>
            <p:cNvPr id="16" name="Group 108">
              <a:extLst>
                <a:ext uri="{FF2B5EF4-FFF2-40B4-BE49-F238E27FC236}">
                  <a16:creationId xmlns:a16="http://schemas.microsoft.com/office/drawing/2014/main" id="{480AF4BE-63B9-4ECF-9AA0-31C9478F8CA6}"/>
                </a:ext>
              </a:extLst>
            </p:cNvPr>
            <p:cNvGrpSpPr/>
            <p:nvPr/>
          </p:nvGrpSpPr>
          <p:grpSpPr>
            <a:xfrm>
              <a:off x="6931819" y="2717528"/>
              <a:ext cx="1920729" cy="450850"/>
              <a:chOff x="6931819" y="2717528"/>
              <a:chExt cx="1920729" cy="450850"/>
            </a:xfrm>
          </p:grpSpPr>
          <p:grpSp>
            <p:nvGrpSpPr>
              <p:cNvPr id="18" name="Group 110">
                <a:extLst>
                  <a:ext uri="{FF2B5EF4-FFF2-40B4-BE49-F238E27FC236}">
                    <a16:creationId xmlns:a16="http://schemas.microsoft.com/office/drawing/2014/main" id="{85780348-999B-4A06-A448-DD5F1325FCBC}"/>
                  </a:ext>
                </a:extLst>
              </p:cNvPr>
              <p:cNvGrpSpPr/>
              <p:nvPr/>
            </p:nvGrpSpPr>
            <p:grpSpPr>
              <a:xfrm>
                <a:off x="7164782" y="2717528"/>
                <a:ext cx="1687766" cy="450850"/>
                <a:chOff x="7164782" y="2717528"/>
                <a:chExt cx="1687766" cy="450850"/>
              </a:xfrm>
            </p:grpSpPr>
            <p:sp>
              <p:nvSpPr>
                <p:cNvPr id="24" name="Freeform: Shape 116">
                  <a:extLst>
                    <a:ext uri="{FF2B5EF4-FFF2-40B4-BE49-F238E27FC236}">
                      <a16:creationId xmlns:a16="http://schemas.microsoft.com/office/drawing/2014/main" id="{588105BB-A751-4836-8C92-9556F16DB2A9}"/>
                    </a:ext>
                  </a:extLst>
                </p:cNvPr>
                <p:cNvSpPr/>
                <p:nvPr/>
              </p:nvSpPr>
              <p:spPr>
                <a:xfrm>
                  <a:off x="7164782" y="2717528"/>
                  <a:ext cx="1687766" cy="450850"/>
                </a:xfrm>
                <a:custGeom>
                  <a:avLst/>
                  <a:gdLst>
                    <a:gd name="connsiteX0" fmla="*/ 812800 w 815975"/>
                    <a:gd name="connsiteY0" fmla="*/ 0 h 450850"/>
                    <a:gd name="connsiteX1" fmla="*/ 225425 w 815975"/>
                    <a:gd name="connsiteY1" fmla="*/ 0 h 450850"/>
                    <a:gd name="connsiteX2" fmla="*/ 0 w 815975"/>
                    <a:gd name="connsiteY2" fmla="*/ 225425 h 450850"/>
                    <a:gd name="connsiteX3" fmla="*/ 225425 w 815975"/>
                    <a:gd name="connsiteY3" fmla="*/ 450850 h 450850"/>
                    <a:gd name="connsiteX4" fmla="*/ 815975 w 815975"/>
                    <a:gd name="connsiteY4" fmla="*/ 450850 h 450850"/>
                    <a:gd name="connsiteX5" fmla="*/ 812800 w 815975"/>
                    <a:gd name="connsiteY5" fmla="*/ 0 h 450850"/>
                    <a:gd name="connsiteX0" fmla="*/ 812800 w 815975"/>
                    <a:gd name="connsiteY0" fmla="*/ 0 h 450850"/>
                    <a:gd name="connsiteX1" fmla="*/ 225425 w 815975"/>
                    <a:gd name="connsiteY1" fmla="*/ 0 h 450850"/>
                    <a:gd name="connsiteX2" fmla="*/ 107728 w 815975"/>
                    <a:gd name="connsiteY2" fmla="*/ 112469 h 450850"/>
                    <a:gd name="connsiteX3" fmla="*/ 0 w 815975"/>
                    <a:gd name="connsiteY3" fmla="*/ 225425 h 450850"/>
                    <a:gd name="connsiteX4" fmla="*/ 225425 w 815975"/>
                    <a:gd name="connsiteY4" fmla="*/ 450850 h 450850"/>
                    <a:gd name="connsiteX5" fmla="*/ 815975 w 815975"/>
                    <a:gd name="connsiteY5" fmla="*/ 450850 h 450850"/>
                    <a:gd name="connsiteX6" fmla="*/ 812800 w 815975"/>
                    <a:gd name="connsiteY6" fmla="*/ 0 h 450850"/>
                    <a:gd name="connsiteX0" fmla="*/ 812800 w 815975"/>
                    <a:gd name="connsiteY0" fmla="*/ 0 h 450850"/>
                    <a:gd name="connsiteX1" fmla="*/ 225425 w 815975"/>
                    <a:gd name="connsiteY1" fmla="*/ 0 h 450850"/>
                    <a:gd name="connsiteX2" fmla="*/ 107728 w 815975"/>
                    <a:gd name="connsiteY2" fmla="*/ 112469 h 450850"/>
                    <a:gd name="connsiteX3" fmla="*/ 0 w 815975"/>
                    <a:gd name="connsiteY3" fmla="*/ 225425 h 450850"/>
                    <a:gd name="connsiteX4" fmla="*/ 106071 w 815975"/>
                    <a:gd name="connsiteY4" fmla="*/ 336306 h 450850"/>
                    <a:gd name="connsiteX5" fmla="*/ 225425 w 815975"/>
                    <a:gd name="connsiteY5" fmla="*/ 450850 h 450850"/>
                    <a:gd name="connsiteX6" fmla="*/ 815975 w 815975"/>
                    <a:gd name="connsiteY6" fmla="*/ 450850 h 450850"/>
                    <a:gd name="connsiteX7" fmla="*/ 812800 w 815975"/>
                    <a:gd name="connsiteY7" fmla="*/ 0 h 450850"/>
                    <a:gd name="connsiteX0" fmla="*/ 812800 w 815975"/>
                    <a:gd name="connsiteY0" fmla="*/ 0 h 450850"/>
                    <a:gd name="connsiteX1" fmla="*/ 225425 w 815975"/>
                    <a:gd name="connsiteY1" fmla="*/ 0 h 450850"/>
                    <a:gd name="connsiteX2" fmla="*/ 107728 w 815975"/>
                    <a:gd name="connsiteY2" fmla="*/ 112469 h 450850"/>
                    <a:gd name="connsiteX3" fmla="*/ 0 w 815975"/>
                    <a:gd name="connsiteY3" fmla="*/ 225425 h 450850"/>
                    <a:gd name="connsiteX4" fmla="*/ 106071 w 815975"/>
                    <a:gd name="connsiteY4" fmla="*/ 336306 h 450850"/>
                    <a:gd name="connsiteX5" fmla="*/ 225425 w 815975"/>
                    <a:gd name="connsiteY5" fmla="*/ 450850 h 450850"/>
                    <a:gd name="connsiteX6" fmla="*/ 815975 w 815975"/>
                    <a:gd name="connsiteY6" fmla="*/ 450850 h 450850"/>
                    <a:gd name="connsiteX7" fmla="*/ 812800 w 815975"/>
                    <a:gd name="connsiteY7" fmla="*/ 0 h 450850"/>
                    <a:gd name="connsiteX0" fmla="*/ 776340 w 779515"/>
                    <a:gd name="connsiteY0" fmla="*/ 0 h 450850"/>
                    <a:gd name="connsiteX1" fmla="*/ 188965 w 779515"/>
                    <a:gd name="connsiteY1" fmla="*/ 0 h 450850"/>
                    <a:gd name="connsiteX2" fmla="*/ 71268 w 779515"/>
                    <a:gd name="connsiteY2" fmla="*/ 112469 h 450850"/>
                    <a:gd name="connsiteX3" fmla="*/ 2 w 779515"/>
                    <a:gd name="connsiteY3" fmla="*/ 232569 h 450850"/>
                    <a:gd name="connsiteX4" fmla="*/ 69611 w 779515"/>
                    <a:gd name="connsiteY4" fmla="*/ 336306 h 450850"/>
                    <a:gd name="connsiteX5" fmla="*/ 188965 w 779515"/>
                    <a:gd name="connsiteY5" fmla="*/ 450850 h 450850"/>
                    <a:gd name="connsiteX6" fmla="*/ 779515 w 779515"/>
                    <a:gd name="connsiteY6" fmla="*/ 450850 h 450850"/>
                    <a:gd name="connsiteX7" fmla="*/ 776340 w 779515"/>
                    <a:gd name="connsiteY7" fmla="*/ 0 h 450850"/>
                    <a:gd name="connsiteX0" fmla="*/ 776340 w 779515"/>
                    <a:gd name="connsiteY0" fmla="*/ 0 h 450850"/>
                    <a:gd name="connsiteX1" fmla="*/ 188965 w 779515"/>
                    <a:gd name="connsiteY1" fmla="*/ 0 h 450850"/>
                    <a:gd name="connsiteX2" fmla="*/ 71268 w 779515"/>
                    <a:gd name="connsiteY2" fmla="*/ 124375 h 450850"/>
                    <a:gd name="connsiteX3" fmla="*/ 2 w 779515"/>
                    <a:gd name="connsiteY3" fmla="*/ 232569 h 450850"/>
                    <a:gd name="connsiteX4" fmla="*/ 69611 w 779515"/>
                    <a:gd name="connsiteY4" fmla="*/ 336306 h 450850"/>
                    <a:gd name="connsiteX5" fmla="*/ 188965 w 779515"/>
                    <a:gd name="connsiteY5" fmla="*/ 450850 h 450850"/>
                    <a:gd name="connsiteX6" fmla="*/ 779515 w 779515"/>
                    <a:gd name="connsiteY6" fmla="*/ 450850 h 450850"/>
                    <a:gd name="connsiteX7" fmla="*/ 776340 w 779515"/>
                    <a:gd name="connsiteY7" fmla="*/ 0 h 450850"/>
                    <a:gd name="connsiteX0" fmla="*/ 776340 w 779515"/>
                    <a:gd name="connsiteY0" fmla="*/ 0 h 450850"/>
                    <a:gd name="connsiteX1" fmla="*/ 188965 w 779515"/>
                    <a:gd name="connsiteY1" fmla="*/ 0 h 450850"/>
                    <a:gd name="connsiteX2" fmla="*/ 71268 w 779515"/>
                    <a:gd name="connsiteY2" fmla="*/ 117232 h 450850"/>
                    <a:gd name="connsiteX3" fmla="*/ 2 w 779515"/>
                    <a:gd name="connsiteY3" fmla="*/ 232569 h 450850"/>
                    <a:gd name="connsiteX4" fmla="*/ 69611 w 779515"/>
                    <a:gd name="connsiteY4" fmla="*/ 336306 h 450850"/>
                    <a:gd name="connsiteX5" fmla="*/ 188965 w 779515"/>
                    <a:gd name="connsiteY5" fmla="*/ 450850 h 450850"/>
                    <a:gd name="connsiteX6" fmla="*/ 779515 w 779515"/>
                    <a:gd name="connsiteY6" fmla="*/ 450850 h 450850"/>
                    <a:gd name="connsiteX7" fmla="*/ 776340 w 779515"/>
                    <a:gd name="connsiteY7" fmla="*/ 0 h 450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79515" h="450850">
                      <a:moveTo>
                        <a:pt x="776340" y="0"/>
                      </a:moveTo>
                      <a:lnTo>
                        <a:pt x="188965" y="0"/>
                      </a:lnTo>
                      <a:lnTo>
                        <a:pt x="71268" y="117232"/>
                      </a:lnTo>
                      <a:cubicBezTo>
                        <a:pt x="33697" y="154803"/>
                        <a:pt x="278" y="196057"/>
                        <a:pt x="2" y="232569"/>
                      </a:cubicBezTo>
                      <a:cubicBezTo>
                        <a:pt x="-274" y="269081"/>
                        <a:pt x="32040" y="298735"/>
                        <a:pt x="69611" y="336306"/>
                      </a:cubicBezTo>
                      <a:lnTo>
                        <a:pt x="188965" y="450850"/>
                      </a:lnTo>
                      <a:lnTo>
                        <a:pt x="779515" y="450850"/>
                      </a:lnTo>
                      <a:cubicBezTo>
                        <a:pt x="778457" y="300567"/>
                        <a:pt x="777398" y="150283"/>
                        <a:pt x="77634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solidFill>
                    <a:srgbClr val="FF8C00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5" name="Rectangle: Rounded Corners 117">
                  <a:extLst>
                    <a:ext uri="{FF2B5EF4-FFF2-40B4-BE49-F238E27FC236}">
                      <a16:creationId xmlns:a16="http://schemas.microsoft.com/office/drawing/2014/main" id="{2F43729C-137C-4E35-8AFA-81257794384C}"/>
                    </a:ext>
                  </a:extLst>
                </p:cNvPr>
                <p:cNvSpPr/>
                <p:nvPr/>
              </p:nvSpPr>
              <p:spPr>
                <a:xfrm>
                  <a:off x="7506743" y="2749138"/>
                  <a:ext cx="1258038" cy="386677"/>
                </a:xfrm>
                <a:prstGeom prst="roundRect">
                  <a:avLst>
                    <a:gd name="adj" fmla="val 9976"/>
                  </a:avLst>
                </a:prstGeom>
                <a:solidFill>
                  <a:schemeClr val="bg1"/>
                </a:solidFill>
                <a:ln>
                  <a:solidFill>
                    <a:srgbClr val="FF8C00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9" name="Oval 111">
                <a:extLst>
                  <a:ext uri="{FF2B5EF4-FFF2-40B4-BE49-F238E27FC236}">
                    <a16:creationId xmlns:a16="http://schemas.microsoft.com/office/drawing/2014/main" id="{6F930846-3B48-4DEC-8954-66306D2D45C4}"/>
                  </a:ext>
                </a:extLst>
              </p:cNvPr>
              <p:cNvSpPr/>
              <p:nvPr/>
            </p:nvSpPr>
            <p:spPr>
              <a:xfrm>
                <a:off x="7215186" y="2915768"/>
                <a:ext cx="63177" cy="63177"/>
              </a:xfrm>
              <a:prstGeom prst="ellipse">
                <a:avLst/>
              </a:pr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" name="Freeform: Shape 112">
                <a:extLst>
                  <a:ext uri="{FF2B5EF4-FFF2-40B4-BE49-F238E27FC236}">
                    <a16:creationId xmlns:a16="http://schemas.microsoft.com/office/drawing/2014/main" id="{73800B75-2CA0-475A-A959-44BB439CFF57}"/>
                  </a:ext>
                </a:extLst>
              </p:cNvPr>
              <p:cNvSpPr/>
              <p:nvPr/>
            </p:nvSpPr>
            <p:spPr>
              <a:xfrm>
                <a:off x="6931819" y="2881313"/>
                <a:ext cx="307649" cy="76200"/>
              </a:xfrm>
              <a:custGeom>
                <a:avLst/>
                <a:gdLst>
                  <a:gd name="connsiteX0" fmla="*/ 288131 w 307649"/>
                  <a:gd name="connsiteY0" fmla="*/ 76200 h 76200"/>
                  <a:gd name="connsiteX1" fmla="*/ 307181 w 307649"/>
                  <a:gd name="connsiteY1" fmla="*/ 61912 h 76200"/>
                  <a:gd name="connsiteX2" fmla="*/ 300037 w 307649"/>
                  <a:gd name="connsiteY2" fmla="*/ 45243 h 76200"/>
                  <a:gd name="connsiteX3" fmla="*/ 285750 w 307649"/>
                  <a:gd name="connsiteY3" fmla="*/ 35718 h 76200"/>
                  <a:gd name="connsiteX4" fmla="*/ 280987 w 307649"/>
                  <a:gd name="connsiteY4" fmla="*/ 28575 h 76200"/>
                  <a:gd name="connsiteX5" fmla="*/ 266700 w 307649"/>
                  <a:gd name="connsiteY5" fmla="*/ 19050 h 76200"/>
                  <a:gd name="connsiteX6" fmla="*/ 247650 w 307649"/>
                  <a:gd name="connsiteY6" fmla="*/ 9525 h 76200"/>
                  <a:gd name="connsiteX7" fmla="*/ 240506 w 307649"/>
                  <a:gd name="connsiteY7" fmla="*/ 4762 h 76200"/>
                  <a:gd name="connsiteX8" fmla="*/ 230981 w 307649"/>
                  <a:gd name="connsiteY8" fmla="*/ 0 h 76200"/>
                  <a:gd name="connsiteX9" fmla="*/ 195262 w 307649"/>
                  <a:gd name="connsiteY9" fmla="*/ 4762 h 76200"/>
                  <a:gd name="connsiteX10" fmla="*/ 180975 w 307649"/>
                  <a:gd name="connsiteY10" fmla="*/ 16668 h 76200"/>
                  <a:gd name="connsiteX11" fmla="*/ 173831 w 307649"/>
                  <a:gd name="connsiteY11" fmla="*/ 19050 h 76200"/>
                  <a:gd name="connsiteX12" fmla="*/ 157162 w 307649"/>
                  <a:gd name="connsiteY12" fmla="*/ 26193 h 76200"/>
                  <a:gd name="connsiteX13" fmla="*/ 142875 w 307649"/>
                  <a:gd name="connsiteY13" fmla="*/ 35718 h 76200"/>
                  <a:gd name="connsiteX14" fmla="*/ 128587 w 307649"/>
                  <a:gd name="connsiteY14" fmla="*/ 42862 h 76200"/>
                  <a:gd name="connsiteX15" fmla="*/ 121444 w 307649"/>
                  <a:gd name="connsiteY15" fmla="*/ 50006 h 76200"/>
                  <a:gd name="connsiteX16" fmla="*/ 100012 w 307649"/>
                  <a:gd name="connsiteY16" fmla="*/ 59531 h 76200"/>
                  <a:gd name="connsiteX17" fmla="*/ 76200 w 307649"/>
                  <a:gd name="connsiteY17" fmla="*/ 66675 h 76200"/>
                  <a:gd name="connsiteX18" fmla="*/ 69056 w 307649"/>
                  <a:gd name="connsiteY18" fmla="*/ 69056 h 76200"/>
                  <a:gd name="connsiteX19" fmla="*/ 33337 w 307649"/>
                  <a:gd name="connsiteY19" fmla="*/ 61912 h 76200"/>
                  <a:gd name="connsiteX20" fmla="*/ 26194 w 307649"/>
                  <a:gd name="connsiteY20" fmla="*/ 57150 h 76200"/>
                  <a:gd name="connsiteX21" fmla="*/ 0 w 307649"/>
                  <a:gd name="connsiteY21" fmla="*/ 54768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07649" h="76200">
                    <a:moveTo>
                      <a:pt x="288131" y="76200"/>
                    </a:moveTo>
                    <a:cubicBezTo>
                      <a:pt x="300160" y="74481"/>
                      <a:pt x="309934" y="78431"/>
                      <a:pt x="307181" y="61912"/>
                    </a:cubicBezTo>
                    <a:cubicBezTo>
                      <a:pt x="306187" y="55949"/>
                      <a:pt x="303865" y="49922"/>
                      <a:pt x="300037" y="45243"/>
                    </a:cubicBezTo>
                    <a:cubicBezTo>
                      <a:pt x="296413" y="40813"/>
                      <a:pt x="285750" y="35718"/>
                      <a:pt x="285750" y="35718"/>
                    </a:cubicBezTo>
                    <a:cubicBezTo>
                      <a:pt x="284162" y="33337"/>
                      <a:pt x="283141" y="30459"/>
                      <a:pt x="280987" y="28575"/>
                    </a:cubicBezTo>
                    <a:cubicBezTo>
                      <a:pt x="276679" y="24806"/>
                      <a:pt x="266700" y="19050"/>
                      <a:pt x="266700" y="19050"/>
                    </a:cubicBezTo>
                    <a:cubicBezTo>
                      <a:pt x="262046" y="5085"/>
                      <a:pt x="267919" y="15606"/>
                      <a:pt x="247650" y="9525"/>
                    </a:cubicBezTo>
                    <a:cubicBezTo>
                      <a:pt x="244909" y="8703"/>
                      <a:pt x="242991" y="6182"/>
                      <a:pt x="240506" y="4762"/>
                    </a:cubicBezTo>
                    <a:cubicBezTo>
                      <a:pt x="237424" y="3001"/>
                      <a:pt x="234156" y="1587"/>
                      <a:pt x="230981" y="0"/>
                    </a:cubicBezTo>
                    <a:cubicBezTo>
                      <a:pt x="219075" y="1587"/>
                      <a:pt x="206988" y="2156"/>
                      <a:pt x="195262" y="4762"/>
                    </a:cubicBezTo>
                    <a:cubicBezTo>
                      <a:pt x="189424" y="6059"/>
                      <a:pt x="185310" y="13778"/>
                      <a:pt x="180975" y="16668"/>
                    </a:cubicBezTo>
                    <a:cubicBezTo>
                      <a:pt x="178886" y="18060"/>
                      <a:pt x="176076" y="17927"/>
                      <a:pt x="173831" y="19050"/>
                    </a:cubicBezTo>
                    <a:cubicBezTo>
                      <a:pt x="157390" y="27270"/>
                      <a:pt x="176981" y="21239"/>
                      <a:pt x="157162" y="26193"/>
                    </a:cubicBezTo>
                    <a:cubicBezTo>
                      <a:pt x="152400" y="29368"/>
                      <a:pt x="148305" y="33908"/>
                      <a:pt x="142875" y="35718"/>
                    </a:cubicBezTo>
                    <a:cubicBezTo>
                      <a:pt x="135718" y="38104"/>
                      <a:pt x="134740" y="37735"/>
                      <a:pt x="128587" y="42862"/>
                    </a:cubicBezTo>
                    <a:cubicBezTo>
                      <a:pt x="126000" y="45018"/>
                      <a:pt x="124031" y="47850"/>
                      <a:pt x="121444" y="50006"/>
                    </a:cubicBezTo>
                    <a:cubicBezTo>
                      <a:pt x="114745" y="55589"/>
                      <a:pt x="108907" y="57307"/>
                      <a:pt x="100012" y="59531"/>
                    </a:cubicBezTo>
                    <a:cubicBezTo>
                      <a:pt x="85613" y="63130"/>
                      <a:pt x="93598" y="60875"/>
                      <a:pt x="76200" y="66675"/>
                    </a:cubicBezTo>
                    <a:lnTo>
                      <a:pt x="69056" y="69056"/>
                    </a:lnTo>
                    <a:cubicBezTo>
                      <a:pt x="44561" y="62932"/>
                      <a:pt x="56486" y="65219"/>
                      <a:pt x="33337" y="61912"/>
                    </a:cubicBezTo>
                    <a:cubicBezTo>
                      <a:pt x="30956" y="60325"/>
                      <a:pt x="28824" y="58277"/>
                      <a:pt x="26194" y="57150"/>
                    </a:cubicBezTo>
                    <a:cubicBezTo>
                      <a:pt x="17491" y="53420"/>
                      <a:pt x="9394" y="54768"/>
                      <a:pt x="0" y="54768"/>
                    </a:cubicBezTo>
                  </a:path>
                </a:pathLst>
              </a:cu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" name="Freeform: Shape 113">
                <a:extLst>
                  <a:ext uri="{FF2B5EF4-FFF2-40B4-BE49-F238E27FC236}">
                    <a16:creationId xmlns:a16="http://schemas.microsoft.com/office/drawing/2014/main" id="{DF8C8FA1-66C9-4779-A464-2DAC9D6400F9}"/>
                  </a:ext>
                </a:extLst>
              </p:cNvPr>
              <p:cNvSpPr/>
              <p:nvPr/>
            </p:nvSpPr>
            <p:spPr>
              <a:xfrm>
                <a:off x="7146131" y="2867007"/>
                <a:ext cx="19050" cy="9543"/>
              </a:xfrm>
              <a:custGeom>
                <a:avLst/>
                <a:gdLst>
                  <a:gd name="connsiteX0" fmla="*/ 19050 w 19050"/>
                  <a:gd name="connsiteY0" fmla="*/ 9543 h 9543"/>
                  <a:gd name="connsiteX1" fmla="*/ 0 w 19050"/>
                  <a:gd name="connsiteY1" fmla="*/ 18 h 9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 h="9543">
                    <a:moveTo>
                      <a:pt x="19050" y="9543"/>
                    </a:moveTo>
                    <a:cubicBezTo>
                      <a:pt x="3442" y="-863"/>
                      <a:pt x="10487" y="18"/>
                      <a:pt x="0" y="18"/>
                    </a:cubicBezTo>
                  </a:path>
                </a:pathLst>
              </a:cu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" name="Freeform: Shape 114">
                <a:extLst>
                  <a:ext uri="{FF2B5EF4-FFF2-40B4-BE49-F238E27FC236}">
                    <a16:creationId xmlns:a16="http://schemas.microsoft.com/office/drawing/2014/main" id="{64D46B63-1F52-48ED-8EAF-AC38F6B33DE5}"/>
                  </a:ext>
                </a:extLst>
              </p:cNvPr>
              <p:cNvSpPr/>
              <p:nvPr/>
            </p:nvSpPr>
            <p:spPr>
              <a:xfrm>
                <a:off x="7141369" y="2878931"/>
                <a:ext cx="26194" cy="74106"/>
              </a:xfrm>
              <a:custGeom>
                <a:avLst/>
                <a:gdLst>
                  <a:gd name="connsiteX0" fmla="*/ 14287 w 26194"/>
                  <a:gd name="connsiteY0" fmla="*/ 0 h 74106"/>
                  <a:gd name="connsiteX1" fmla="*/ 2381 w 26194"/>
                  <a:gd name="connsiteY1" fmla="*/ 7144 h 74106"/>
                  <a:gd name="connsiteX2" fmla="*/ 0 w 26194"/>
                  <a:gd name="connsiteY2" fmla="*/ 19050 h 74106"/>
                  <a:gd name="connsiteX3" fmla="*/ 2381 w 26194"/>
                  <a:gd name="connsiteY3" fmla="*/ 64294 h 74106"/>
                  <a:gd name="connsiteX4" fmla="*/ 4762 w 26194"/>
                  <a:gd name="connsiteY4" fmla="*/ 71438 h 74106"/>
                  <a:gd name="connsiteX5" fmla="*/ 26194 w 26194"/>
                  <a:gd name="connsiteY5" fmla="*/ 73819 h 74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194" h="74106">
                    <a:moveTo>
                      <a:pt x="14287" y="0"/>
                    </a:moveTo>
                    <a:cubicBezTo>
                      <a:pt x="10318" y="2381"/>
                      <a:pt x="5158" y="3441"/>
                      <a:pt x="2381" y="7144"/>
                    </a:cubicBezTo>
                    <a:cubicBezTo>
                      <a:pt x="-47" y="10382"/>
                      <a:pt x="0" y="15003"/>
                      <a:pt x="0" y="19050"/>
                    </a:cubicBezTo>
                    <a:cubicBezTo>
                      <a:pt x="0" y="34152"/>
                      <a:pt x="1014" y="49254"/>
                      <a:pt x="2381" y="64294"/>
                    </a:cubicBezTo>
                    <a:cubicBezTo>
                      <a:pt x="2608" y="66794"/>
                      <a:pt x="2987" y="69663"/>
                      <a:pt x="4762" y="71438"/>
                    </a:cubicBezTo>
                    <a:cubicBezTo>
                      <a:pt x="8649" y="75325"/>
                      <a:pt x="24149" y="73819"/>
                      <a:pt x="26194" y="73819"/>
                    </a:cubicBezTo>
                  </a:path>
                </a:pathLst>
              </a:cu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" name="Freeform: Shape 115">
                <a:extLst>
                  <a:ext uri="{FF2B5EF4-FFF2-40B4-BE49-F238E27FC236}">
                    <a16:creationId xmlns:a16="http://schemas.microsoft.com/office/drawing/2014/main" id="{3A6ECCD4-135B-4A20-B180-3DA21A91FF4F}"/>
                  </a:ext>
                </a:extLst>
              </p:cNvPr>
              <p:cNvSpPr/>
              <p:nvPr/>
            </p:nvSpPr>
            <p:spPr>
              <a:xfrm>
                <a:off x="7141278" y="2868906"/>
                <a:ext cx="33698" cy="26694"/>
              </a:xfrm>
              <a:custGeom>
                <a:avLst/>
                <a:gdLst>
                  <a:gd name="connsiteX0" fmla="*/ 9616 w 33698"/>
                  <a:gd name="connsiteY0" fmla="*/ 500 h 26694"/>
                  <a:gd name="connsiteX1" fmla="*/ 91 w 33698"/>
                  <a:gd name="connsiteY1" fmla="*/ 12407 h 26694"/>
                  <a:gd name="connsiteX2" fmla="*/ 4853 w 33698"/>
                  <a:gd name="connsiteY2" fmla="*/ 19550 h 26694"/>
                  <a:gd name="connsiteX3" fmla="*/ 19141 w 33698"/>
                  <a:gd name="connsiteY3" fmla="*/ 26694 h 26694"/>
                  <a:gd name="connsiteX4" fmla="*/ 21522 w 33698"/>
                  <a:gd name="connsiteY4" fmla="*/ 17169 h 26694"/>
                  <a:gd name="connsiteX5" fmla="*/ 33428 w 33698"/>
                  <a:gd name="connsiteY5" fmla="*/ 12407 h 26694"/>
                  <a:gd name="connsiteX6" fmla="*/ 28666 w 33698"/>
                  <a:gd name="connsiteY6" fmla="*/ 5263 h 26694"/>
                  <a:gd name="connsiteX7" fmla="*/ 9616 w 33698"/>
                  <a:gd name="connsiteY7" fmla="*/ 500 h 26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698" h="26694">
                    <a:moveTo>
                      <a:pt x="9616" y="500"/>
                    </a:moveTo>
                    <a:cubicBezTo>
                      <a:pt x="4854" y="1691"/>
                      <a:pt x="1324" y="7476"/>
                      <a:pt x="91" y="12407"/>
                    </a:cubicBezTo>
                    <a:cubicBezTo>
                      <a:pt x="-603" y="15183"/>
                      <a:pt x="2830" y="17527"/>
                      <a:pt x="4853" y="19550"/>
                    </a:cubicBezTo>
                    <a:cubicBezTo>
                      <a:pt x="9470" y="24167"/>
                      <a:pt x="13329" y="24757"/>
                      <a:pt x="19141" y="26694"/>
                    </a:cubicBezTo>
                    <a:cubicBezTo>
                      <a:pt x="19935" y="23519"/>
                      <a:pt x="19208" y="19483"/>
                      <a:pt x="21522" y="17169"/>
                    </a:cubicBezTo>
                    <a:cubicBezTo>
                      <a:pt x="24544" y="14147"/>
                      <a:pt x="31229" y="16072"/>
                      <a:pt x="33428" y="12407"/>
                    </a:cubicBezTo>
                    <a:cubicBezTo>
                      <a:pt x="34900" y="9953"/>
                      <a:pt x="29946" y="7823"/>
                      <a:pt x="28666" y="5263"/>
                    </a:cubicBezTo>
                    <a:cubicBezTo>
                      <a:pt x="26034" y="-2"/>
                      <a:pt x="14378" y="-691"/>
                      <a:pt x="9616" y="500"/>
                    </a:cubicBezTo>
                    <a:close/>
                  </a:path>
                </a:pathLst>
              </a:cu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7" name="TextBox 109">
              <a:extLst>
                <a:ext uri="{FF2B5EF4-FFF2-40B4-BE49-F238E27FC236}">
                  <a16:creationId xmlns:a16="http://schemas.microsoft.com/office/drawing/2014/main" id="{1F88E0C3-6C88-4259-957E-013C4C2F8B3D}"/>
                </a:ext>
              </a:extLst>
            </p:cNvPr>
            <p:cNvSpPr txBox="1"/>
            <p:nvPr/>
          </p:nvSpPr>
          <p:spPr>
            <a:xfrm>
              <a:off x="7578926" y="2821831"/>
              <a:ext cx="1143027" cy="246221"/>
            </a:xfrm>
            <a:prstGeom prst="rect">
              <a:avLst/>
            </a:prstGeom>
            <a:noFill/>
            <a:ln>
              <a:solidFill>
                <a:srgbClr val="FF8C00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00" b="1" dirty="0">
                  <a:solidFill>
                    <a:prstClr val="black"/>
                  </a:solidFill>
                  <a:latin typeface="Calibri"/>
                </a:rPr>
                <a:t>a:heatingValveCmd</a:t>
              </a:r>
              <a:endPara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grpSp>
        <p:nvGrpSpPr>
          <p:cNvPr id="26" name="Group 107">
            <a:extLst>
              <a:ext uri="{FF2B5EF4-FFF2-40B4-BE49-F238E27FC236}">
                <a16:creationId xmlns:a16="http://schemas.microsoft.com/office/drawing/2014/main" id="{9131F89C-4FD6-49BC-B5FF-891835F29937}"/>
              </a:ext>
            </a:extLst>
          </p:cNvPr>
          <p:cNvGrpSpPr/>
          <p:nvPr/>
        </p:nvGrpSpPr>
        <p:grpSpPr>
          <a:xfrm rot="2552794">
            <a:off x="1408743" y="3989013"/>
            <a:ext cx="2183710" cy="450850"/>
            <a:chOff x="6931819" y="2717528"/>
            <a:chExt cx="1920729" cy="450850"/>
          </a:xfrm>
        </p:grpSpPr>
        <p:grpSp>
          <p:nvGrpSpPr>
            <p:cNvPr id="27" name="Group 108">
              <a:extLst>
                <a:ext uri="{FF2B5EF4-FFF2-40B4-BE49-F238E27FC236}">
                  <a16:creationId xmlns:a16="http://schemas.microsoft.com/office/drawing/2014/main" id="{5D0EB4D4-E66C-4EEC-A983-9509C610BDF6}"/>
                </a:ext>
              </a:extLst>
            </p:cNvPr>
            <p:cNvGrpSpPr/>
            <p:nvPr/>
          </p:nvGrpSpPr>
          <p:grpSpPr>
            <a:xfrm>
              <a:off x="6931819" y="2717528"/>
              <a:ext cx="1920729" cy="450850"/>
              <a:chOff x="6931819" y="2717528"/>
              <a:chExt cx="1920729" cy="450850"/>
            </a:xfrm>
          </p:grpSpPr>
          <p:grpSp>
            <p:nvGrpSpPr>
              <p:cNvPr id="29" name="Group 110">
                <a:extLst>
                  <a:ext uri="{FF2B5EF4-FFF2-40B4-BE49-F238E27FC236}">
                    <a16:creationId xmlns:a16="http://schemas.microsoft.com/office/drawing/2014/main" id="{C87DACB7-833E-4D69-945C-4711EEAD75CF}"/>
                  </a:ext>
                </a:extLst>
              </p:cNvPr>
              <p:cNvGrpSpPr/>
              <p:nvPr/>
            </p:nvGrpSpPr>
            <p:grpSpPr>
              <a:xfrm>
                <a:off x="7164782" y="2717528"/>
                <a:ext cx="1687766" cy="450850"/>
                <a:chOff x="7164782" y="2717528"/>
                <a:chExt cx="1687766" cy="450850"/>
              </a:xfrm>
            </p:grpSpPr>
            <p:sp>
              <p:nvSpPr>
                <p:cNvPr id="35" name="Freeform: Shape 116">
                  <a:extLst>
                    <a:ext uri="{FF2B5EF4-FFF2-40B4-BE49-F238E27FC236}">
                      <a16:creationId xmlns:a16="http://schemas.microsoft.com/office/drawing/2014/main" id="{8282C418-9178-465C-983D-59F4E192070C}"/>
                    </a:ext>
                  </a:extLst>
                </p:cNvPr>
                <p:cNvSpPr/>
                <p:nvPr/>
              </p:nvSpPr>
              <p:spPr>
                <a:xfrm>
                  <a:off x="7164782" y="2717528"/>
                  <a:ext cx="1687766" cy="450850"/>
                </a:xfrm>
                <a:custGeom>
                  <a:avLst/>
                  <a:gdLst>
                    <a:gd name="connsiteX0" fmla="*/ 812800 w 815975"/>
                    <a:gd name="connsiteY0" fmla="*/ 0 h 450850"/>
                    <a:gd name="connsiteX1" fmla="*/ 225425 w 815975"/>
                    <a:gd name="connsiteY1" fmla="*/ 0 h 450850"/>
                    <a:gd name="connsiteX2" fmla="*/ 0 w 815975"/>
                    <a:gd name="connsiteY2" fmla="*/ 225425 h 450850"/>
                    <a:gd name="connsiteX3" fmla="*/ 225425 w 815975"/>
                    <a:gd name="connsiteY3" fmla="*/ 450850 h 450850"/>
                    <a:gd name="connsiteX4" fmla="*/ 815975 w 815975"/>
                    <a:gd name="connsiteY4" fmla="*/ 450850 h 450850"/>
                    <a:gd name="connsiteX5" fmla="*/ 812800 w 815975"/>
                    <a:gd name="connsiteY5" fmla="*/ 0 h 450850"/>
                    <a:gd name="connsiteX0" fmla="*/ 812800 w 815975"/>
                    <a:gd name="connsiteY0" fmla="*/ 0 h 450850"/>
                    <a:gd name="connsiteX1" fmla="*/ 225425 w 815975"/>
                    <a:gd name="connsiteY1" fmla="*/ 0 h 450850"/>
                    <a:gd name="connsiteX2" fmla="*/ 107728 w 815975"/>
                    <a:gd name="connsiteY2" fmla="*/ 112469 h 450850"/>
                    <a:gd name="connsiteX3" fmla="*/ 0 w 815975"/>
                    <a:gd name="connsiteY3" fmla="*/ 225425 h 450850"/>
                    <a:gd name="connsiteX4" fmla="*/ 225425 w 815975"/>
                    <a:gd name="connsiteY4" fmla="*/ 450850 h 450850"/>
                    <a:gd name="connsiteX5" fmla="*/ 815975 w 815975"/>
                    <a:gd name="connsiteY5" fmla="*/ 450850 h 450850"/>
                    <a:gd name="connsiteX6" fmla="*/ 812800 w 815975"/>
                    <a:gd name="connsiteY6" fmla="*/ 0 h 450850"/>
                    <a:gd name="connsiteX0" fmla="*/ 812800 w 815975"/>
                    <a:gd name="connsiteY0" fmla="*/ 0 h 450850"/>
                    <a:gd name="connsiteX1" fmla="*/ 225425 w 815975"/>
                    <a:gd name="connsiteY1" fmla="*/ 0 h 450850"/>
                    <a:gd name="connsiteX2" fmla="*/ 107728 w 815975"/>
                    <a:gd name="connsiteY2" fmla="*/ 112469 h 450850"/>
                    <a:gd name="connsiteX3" fmla="*/ 0 w 815975"/>
                    <a:gd name="connsiteY3" fmla="*/ 225425 h 450850"/>
                    <a:gd name="connsiteX4" fmla="*/ 106071 w 815975"/>
                    <a:gd name="connsiteY4" fmla="*/ 336306 h 450850"/>
                    <a:gd name="connsiteX5" fmla="*/ 225425 w 815975"/>
                    <a:gd name="connsiteY5" fmla="*/ 450850 h 450850"/>
                    <a:gd name="connsiteX6" fmla="*/ 815975 w 815975"/>
                    <a:gd name="connsiteY6" fmla="*/ 450850 h 450850"/>
                    <a:gd name="connsiteX7" fmla="*/ 812800 w 815975"/>
                    <a:gd name="connsiteY7" fmla="*/ 0 h 450850"/>
                    <a:gd name="connsiteX0" fmla="*/ 812800 w 815975"/>
                    <a:gd name="connsiteY0" fmla="*/ 0 h 450850"/>
                    <a:gd name="connsiteX1" fmla="*/ 225425 w 815975"/>
                    <a:gd name="connsiteY1" fmla="*/ 0 h 450850"/>
                    <a:gd name="connsiteX2" fmla="*/ 107728 w 815975"/>
                    <a:gd name="connsiteY2" fmla="*/ 112469 h 450850"/>
                    <a:gd name="connsiteX3" fmla="*/ 0 w 815975"/>
                    <a:gd name="connsiteY3" fmla="*/ 225425 h 450850"/>
                    <a:gd name="connsiteX4" fmla="*/ 106071 w 815975"/>
                    <a:gd name="connsiteY4" fmla="*/ 336306 h 450850"/>
                    <a:gd name="connsiteX5" fmla="*/ 225425 w 815975"/>
                    <a:gd name="connsiteY5" fmla="*/ 450850 h 450850"/>
                    <a:gd name="connsiteX6" fmla="*/ 815975 w 815975"/>
                    <a:gd name="connsiteY6" fmla="*/ 450850 h 450850"/>
                    <a:gd name="connsiteX7" fmla="*/ 812800 w 815975"/>
                    <a:gd name="connsiteY7" fmla="*/ 0 h 450850"/>
                    <a:gd name="connsiteX0" fmla="*/ 776340 w 779515"/>
                    <a:gd name="connsiteY0" fmla="*/ 0 h 450850"/>
                    <a:gd name="connsiteX1" fmla="*/ 188965 w 779515"/>
                    <a:gd name="connsiteY1" fmla="*/ 0 h 450850"/>
                    <a:gd name="connsiteX2" fmla="*/ 71268 w 779515"/>
                    <a:gd name="connsiteY2" fmla="*/ 112469 h 450850"/>
                    <a:gd name="connsiteX3" fmla="*/ 2 w 779515"/>
                    <a:gd name="connsiteY3" fmla="*/ 232569 h 450850"/>
                    <a:gd name="connsiteX4" fmla="*/ 69611 w 779515"/>
                    <a:gd name="connsiteY4" fmla="*/ 336306 h 450850"/>
                    <a:gd name="connsiteX5" fmla="*/ 188965 w 779515"/>
                    <a:gd name="connsiteY5" fmla="*/ 450850 h 450850"/>
                    <a:gd name="connsiteX6" fmla="*/ 779515 w 779515"/>
                    <a:gd name="connsiteY6" fmla="*/ 450850 h 450850"/>
                    <a:gd name="connsiteX7" fmla="*/ 776340 w 779515"/>
                    <a:gd name="connsiteY7" fmla="*/ 0 h 450850"/>
                    <a:gd name="connsiteX0" fmla="*/ 776340 w 779515"/>
                    <a:gd name="connsiteY0" fmla="*/ 0 h 450850"/>
                    <a:gd name="connsiteX1" fmla="*/ 188965 w 779515"/>
                    <a:gd name="connsiteY1" fmla="*/ 0 h 450850"/>
                    <a:gd name="connsiteX2" fmla="*/ 71268 w 779515"/>
                    <a:gd name="connsiteY2" fmla="*/ 124375 h 450850"/>
                    <a:gd name="connsiteX3" fmla="*/ 2 w 779515"/>
                    <a:gd name="connsiteY3" fmla="*/ 232569 h 450850"/>
                    <a:gd name="connsiteX4" fmla="*/ 69611 w 779515"/>
                    <a:gd name="connsiteY4" fmla="*/ 336306 h 450850"/>
                    <a:gd name="connsiteX5" fmla="*/ 188965 w 779515"/>
                    <a:gd name="connsiteY5" fmla="*/ 450850 h 450850"/>
                    <a:gd name="connsiteX6" fmla="*/ 779515 w 779515"/>
                    <a:gd name="connsiteY6" fmla="*/ 450850 h 450850"/>
                    <a:gd name="connsiteX7" fmla="*/ 776340 w 779515"/>
                    <a:gd name="connsiteY7" fmla="*/ 0 h 450850"/>
                    <a:gd name="connsiteX0" fmla="*/ 776340 w 779515"/>
                    <a:gd name="connsiteY0" fmla="*/ 0 h 450850"/>
                    <a:gd name="connsiteX1" fmla="*/ 188965 w 779515"/>
                    <a:gd name="connsiteY1" fmla="*/ 0 h 450850"/>
                    <a:gd name="connsiteX2" fmla="*/ 71268 w 779515"/>
                    <a:gd name="connsiteY2" fmla="*/ 117232 h 450850"/>
                    <a:gd name="connsiteX3" fmla="*/ 2 w 779515"/>
                    <a:gd name="connsiteY3" fmla="*/ 232569 h 450850"/>
                    <a:gd name="connsiteX4" fmla="*/ 69611 w 779515"/>
                    <a:gd name="connsiteY4" fmla="*/ 336306 h 450850"/>
                    <a:gd name="connsiteX5" fmla="*/ 188965 w 779515"/>
                    <a:gd name="connsiteY5" fmla="*/ 450850 h 450850"/>
                    <a:gd name="connsiteX6" fmla="*/ 779515 w 779515"/>
                    <a:gd name="connsiteY6" fmla="*/ 450850 h 450850"/>
                    <a:gd name="connsiteX7" fmla="*/ 776340 w 779515"/>
                    <a:gd name="connsiteY7" fmla="*/ 0 h 450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79515" h="450850">
                      <a:moveTo>
                        <a:pt x="776340" y="0"/>
                      </a:moveTo>
                      <a:lnTo>
                        <a:pt x="188965" y="0"/>
                      </a:lnTo>
                      <a:lnTo>
                        <a:pt x="71268" y="117232"/>
                      </a:lnTo>
                      <a:cubicBezTo>
                        <a:pt x="33697" y="154803"/>
                        <a:pt x="278" y="196057"/>
                        <a:pt x="2" y="232569"/>
                      </a:cubicBezTo>
                      <a:cubicBezTo>
                        <a:pt x="-274" y="269081"/>
                        <a:pt x="32040" y="298735"/>
                        <a:pt x="69611" y="336306"/>
                      </a:cubicBezTo>
                      <a:lnTo>
                        <a:pt x="188965" y="450850"/>
                      </a:lnTo>
                      <a:lnTo>
                        <a:pt x="779515" y="450850"/>
                      </a:lnTo>
                      <a:cubicBezTo>
                        <a:pt x="778457" y="300567"/>
                        <a:pt x="777398" y="150283"/>
                        <a:pt x="77634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solidFill>
                    <a:srgbClr val="FF8C00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Rectangle: Rounded Corners 117">
                  <a:extLst>
                    <a:ext uri="{FF2B5EF4-FFF2-40B4-BE49-F238E27FC236}">
                      <a16:creationId xmlns:a16="http://schemas.microsoft.com/office/drawing/2014/main" id="{253AB88C-CF91-4401-8E4B-ADE90E2E70DE}"/>
                    </a:ext>
                  </a:extLst>
                </p:cNvPr>
                <p:cNvSpPr/>
                <p:nvPr/>
              </p:nvSpPr>
              <p:spPr>
                <a:xfrm>
                  <a:off x="7506743" y="2749138"/>
                  <a:ext cx="1258038" cy="386677"/>
                </a:xfrm>
                <a:prstGeom prst="roundRect">
                  <a:avLst>
                    <a:gd name="adj" fmla="val 9976"/>
                  </a:avLst>
                </a:prstGeom>
                <a:solidFill>
                  <a:schemeClr val="bg1"/>
                </a:solidFill>
                <a:ln>
                  <a:solidFill>
                    <a:srgbClr val="FF8C00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0" name="Oval 111">
                <a:extLst>
                  <a:ext uri="{FF2B5EF4-FFF2-40B4-BE49-F238E27FC236}">
                    <a16:creationId xmlns:a16="http://schemas.microsoft.com/office/drawing/2014/main" id="{CC7FBD7A-1882-4746-ADEC-03945006F921}"/>
                  </a:ext>
                </a:extLst>
              </p:cNvPr>
              <p:cNvSpPr/>
              <p:nvPr/>
            </p:nvSpPr>
            <p:spPr>
              <a:xfrm>
                <a:off x="7215186" y="2915768"/>
                <a:ext cx="63177" cy="63177"/>
              </a:xfrm>
              <a:prstGeom prst="ellipse">
                <a:avLst/>
              </a:pr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112">
                <a:extLst>
                  <a:ext uri="{FF2B5EF4-FFF2-40B4-BE49-F238E27FC236}">
                    <a16:creationId xmlns:a16="http://schemas.microsoft.com/office/drawing/2014/main" id="{027D2D01-6127-411E-B91B-42263E791493}"/>
                  </a:ext>
                </a:extLst>
              </p:cNvPr>
              <p:cNvSpPr/>
              <p:nvPr/>
            </p:nvSpPr>
            <p:spPr>
              <a:xfrm>
                <a:off x="6931819" y="2881313"/>
                <a:ext cx="307649" cy="76200"/>
              </a:xfrm>
              <a:custGeom>
                <a:avLst/>
                <a:gdLst>
                  <a:gd name="connsiteX0" fmla="*/ 288131 w 307649"/>
                  <a:gd name="connsiteY0" fmla="*/ 76200 h 76200"/>
                  <a:gd name="connsiteX1" fmla="*/ 307181 w 307649"/>
                  <a:gd name="connsiteY1" fmla="*/ 61912 h 76200"/>
                  <a:gd name="connsiteX2" fmla="*/ 300037 w 307649"/>
                  <a:gd name="connsiteY2" fmla="*/ 45243 h 76200"/>
                  <a:gd name="connsiteX3" fmla="*/ 285750 w 307649"/>
                  <a:gd name="connsiteY3" fmla="*/ 35718 h 76200"/>
                  <a:gd name="connsiteX4" fmla="*/ 280987 w 307649"/>
                  <a:gd name="connsiteY4" fmla="*/ 28575 h 76200"/>
                  <a:gd name="connsiteX5" fmla="*/ 266700 w 307649"/>
                  <a:gd name="connsiteY5" fmla="*/ 19050 h 76200"/>
                  <a:gd name="connsiteX6" fmla="*/ 247650 w 307649"/>
                  <a:gd name="connsiteY6" fmla="*/ 9525 h 76200"/>
                  <a:gd name="connsiteX7" fmla="*/ 240506 w 307649"/>
                  <a:gd name="connsiteY7" fmla="*/ 4762 h 76200"/>
                  <a:gd name="connsiteX8" fmla="*/ 230981 w 307649"/>
                  <a:gd name="connsiteY8" fmla="*/ 0 h 76200"/>
                  <a:gd name="connsiteX9" fmla="*/ 195262 w 307649"/>
                  <a:gd name="connsiteY9" fmla="*/ 4762 h 76200"/>
                  <a:gd name="connsiteX10" fmla="*/ 180975 w 307649"/>
                  <a:gd name="connsiteY10" fmla="*/ 16668 h 76200"/>
                  <a:gd name="connsiteX11" fmla="*/ 173831 w 307649"/>
                  <a:gd name="connsiteY11" fmla="*/ 19050 h 76200"/>
                  <a:gd name="connsiteX12" fmla="*/ 157162 w 307649"/>
                  <a:gd name="connsiteY12" fmla="*/ 26193 h 76200"/>
                  <a:gd name="connsiteX13" fmla="*/ 142875 w 307649"/>
                  <a:gd name="connsiteY13" fmla="*/ 35718 h 76200"/>
                  <a:gd name="connsiteX14" fmla="*/ 128587 w 307649"/>
                  <a:gd name="connsiteY14" fmla="*/ 42862 h 76200"/>
                  <a:gd name="connsiteX15" fmla="*/ 121444 w 307649"/>
                  <a:gd name="connsiteY15" fmla="*/ 50006 h 76200"/>
                  <a:gd name="connsiteX16" fmla="*/ 100012 w 307649"/>
                  <a:gd name="connsiteY16" fmla="*/ 59531 h 76200"/>
                  <a:gd name="connsiteX17" fmla="*/ 76200 w 307649"/>
                  <a:gd name="connsiteY17" fmla="*/ 66675 h 76200"/>
                  <a:gd name="connsiteX18" fmla="*/ 69056 w 307649"/>
                  <a:gd name="connsiteY18" fmla="*/ 69056 h 76200"/>
                  <a:gd name="connsiteX19" fmla="*/ 33337 w 307649"/>
                  <a:gd name="connsiteY19" fmla="*/ 61912 h 76200"/>
                  <a:gd name="connsiteX20" fmla="*/ 26194 w 307649"/>
                  <a:gd name="connsiteY20" fmla="*/ 57150 h 76200"/>
                  <a:gd name="connsiteX21" fmla="*/ 0 w 307649"/>
                  <a:gd name="connsiteY21" fmla="*/ 54768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07649" h="76200">
                    <a:moveTo>
                      <a:pt x="288131" y="76200"/>
                    </a:moveTo>
                    <a:cubicBezTo>
                      <a:pt x="300160" y="74481"/>
                      <a:pt x="309934" y="78431"/>
                      <a:pt x="307181" y="61912"/>
                    </a:cubicBezTo>
                    <a:cubicBezTo>
                      <a:pt x="306187" y="55949"/>
                      <a:pt x="303865" y="49922"/>
                      <a:pt x="300037" y="45243"/>
                    </a:cubicBezTo>
                    <a:cubicBezTo>
                      <a:pt x="296413" y="40813"/>
                      <a:pt x="285750" y="35718"/>
                      <a:pt x="285750" y="35718"/>
                    </a:cubicBezTo>
                    <a:cubicBezTo>
                      <a:pt x="284162" y="33337"/>
                      <a:pt x="283141" y="30459"/>
                      <a:pt x="280987" y="28575"/>
                    </a:cubicBezTo>
                    <a:cubicBezTo>
                      <a:pt x="276679" y="24806"/>
                      <a:pt x="266700" y="19050"/>
                      <a:pt x="266700" y="19050"/>
                    </a:cubicBezTo>
                    <a:cubicBezTo>
                      <a:pt x="262046" y="5085"/>
                      <a:pt x="267919" y="15606"/>
                      <a:pt x="247650" y="9525"/>
                    </a:cubicBezTo>
                    <a:cubicBezTo>
                      <a:pt x="244909" y="8703"/>
                      <a:pt x="242991" y="6182"/>
                      <a:pt x="240506" y="4762"/>
                    </a:cubicBezTo>
                    <a:cubicBezTo>
                      <a:pt x="237424" y="3001"/>
                      <a:pt x="234156" y="1587"/>
                      <a:pt x="230981" y="0"/>
                    </a:cubicBezTo>
                    <a:cubicBezTo>
                      <a:pt x="219075" y="1587"/>
                      <a:pt x="206988" y="2156"/>
                      <a:pt x="195262" y="4762"/>
                    </a:cubicBezTo>
                    <a:cubicBezTo>
                      <a:pt x="189424" y="6059"/>
                      <a:pt x="185310" y="13778"/>
                      <a:pt x="180975" y="16668"/>
                    </a:cubicBezTo>
                    <a:cubicBezTo>
                      <a:pt x="178886" y="18060"/>
                      <a:pt x="176076" y="17927"/>
                      <a:pt x="173831" y="19050"/>
                    </a:cubicBezTo>
                    <a:cubicBezTo>
                      <a:pt x="157390" y="27270"/>
                      <a:pt x="176981" y="21239"/>
                      <a:pt x="157162" y="26193"/>
                    </a:cubicBezTo>
                    <a:cubicBezTo>
                      <a:pt x="152400" y="29368"/>
                      <a:pt x="148305" y="33908"/>
                      <a:pt x="142875" y="35718"/>
                    </a:cubicBezTo>
                    <a:cubicBezTo>
                      <a:pt x="135718" y="38104"/>
                      <a:pt x="134740" y="37735"/>
                      <a:pt x="128587" y="42862"/>
                    </a:cubicBezTo>
                    <a:cubicBezTo>
                      <a:pt x="126000" y="45018"/>
                      <a:pt x="124031" y="47850"/>
                      <a:pt x="121444" y="50006"/>
                    </a:cubicBezTo>
                    <a:cubicBezTo>
                      <a:pt x="114745" y="55589"/>
                      <a:pt x="108907" y="57307"/>
                      <a:pt x="100012" y="59531"/>
                    </a:cubicBezTo>
                    <a:cubicBezTo>
                      <a:pt x="85613" y="63130"/>
                      <a:pt x="93598" y="60875"/>
                      <a:pt x="76200" y="66675"/>
                    </a:cubicBezTo>
                    <a:lnTo>
                      <a:pt x="69056" y="69056"/>
                    </a:lnTo>
                    <a:cubicBezTo>
                      <a:pt x="44561" y="62932"/>
                      <a:pt x="56486" y="65219"/>
                      <a:pt x="33337" y="61912"/>
                    </a:cubicBezTo>
                    <a:cubicBezTo>
                      <a:pt x="30956" y="60325"/>
                      <a:pt x="28824" y="58277"/>
                      <a:pt x="26194" y="57150"/>
                    </a:cubicBezTo>
                    <a:cubicBezTo>
                      <a:pt x="17491" y="53420"/>
                      <a:pt x="9394" y="54768"/>
                      <a:pt x="0" y="54768"/>
                    </a:cubicBezTo>
                  </a:path>
                </a:pathLst>
              </a:cu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113">
                <a:extLst>
                  <a:ext uri="{FF2B5EF4-FFF2-40B4-BE49-F238E27FC236}">
                    <a16:creationId xmlns:a16="http://schemas.microsoft.com/office/drawing/2014/main" id="{75128008-5960-4035-BDA1-4E7C41BD0D5C}"/>
                  </a:ext>
                </a:extLst>
              </p:cNvPr>
              <p:cNvSpPr/>
              <p:nvPr/>
            </p:nvSpPr>
            <p:spPr>
              <a:xfrm>
                <a:off x="7146131" y="2867007"/>
                <a:ext cx="19050" cy="9543"/>
              </a:xfrm>
              <a:custGeom>
                <a:avLst/>
                <a:gdLst>
                  <a:gd name="connsiteX0" fmla="*/ 19050 w 19050"/>
                  <a:gd name="connsiteY0" fmla="*/ 9543 h 9543"/>
                  <a:gd name="connsiteX1" fmla="*/ 0 w 19050"/>
                  <a:gd name="connsiteY1" fmla="*/ 18 h 95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" h="9543">
                    <a:moveTo>
                      <a:pt x="19050" y="9543"/>
                    </a:moveTo>
                    <a:cubicBezTo>
                      <a:pt x="3442" y="-863"/>
                      <a:pt x="10487" y="18"/>
                      <a:pt x="0" y="18"/>
                    </a:cubicBezTo>
                  </a:path>
                </a:pathLst>
              </a:cu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114">
                <a:extLst>
                  <a:ext uri="{FF2B5EF4-FFF2-40B4-BE49-F238E27FC236}">
                    <a16:creationId xmlns:a16="http://schemas.microsoft.com/office/drawing/2014/main" id="{4F907631-88D7-4204-AD57-B590B1F00D1D}"/>
                  </a:ext>
                </a:extLst>
              </p:cNvPr>
              <p:cNvSpPr/>
              <p:nvPr/>
            </p:nvSpPr>
            <p:spPr>
              <a:xfrm>
                <a:off x="7141369" y="2878931"/>
                <a:ext cx="26194" cy="74106"/>
              </a:xfrm>
              <a:custGeom>
                <a:avLst/>
                <a:gdLst>
                  <a:gd name="connsiteX0" fmla="*/ 14287 w 26194"/>
                  <a:gd name="connsiteY0" fmla="*/ 0 h 74106"/>
                  <a:gd name="connsiteX1" fmla="*/ 2381 w 26194"/>
                  <a:gd name="connsiteY1" fmla="*/ 7144 h 74106"/>
                  <a:gd name="connsiteX2" fmla="*/ 0 w 26194"/>
                  <a:gd name="connsiteY2" fmla="*/ 19050 h 74106"/>
                  <a:gd name="connsiteX3" fmla="*/ 2381 w 26194"/>
                  <a:gd name="connsiteY3" fmla="*/ 64294 h 74106"/>
                  <a:gd name="connsiteX4" fmla="*/ 4762 w 26194"/>
                  <a:gd name="connsiteY4" fmla="*/ 71438 h 74106"/>
                  <a:gd name="connsiteX5" fmla="*/ 26194 w 26194"/>
                  <a:gd name="connsiteY5" fmla="*/ 73819 h 741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194" h="74106">
                    <a:moveTo>
                      <a:pt x="14287" y="0"/>
                    </a:moveTo>
                    <a:cubicBezTo>
                      <a:pt x="10318" y="2381"/>
                      <a:pt x="5158" y="3441"/>
                      <a:pt x="2381" y="7144"/>
                    </a:cubicBezTo>
                    <a:cubicBezTo>
                      <a:pt x="-47" y="10382"/>
                      <a:pt x="0" y="15003"/>
                      <a:pt x="0" y="19050"/>
                    </a:cubicBezTo>
                    <a:cubicBezTo>
                      <a:pt x="0" y="34152"/>
                      <a:pt x="1014" y="49254"/>
                      <a:pt x="2381" y="64294"/>
                    </a:cubicBezTo>
                    <a:cubicBezTo>
                      <a:pt x="2608" y="66794"/>
                      <a:pt x="2987" y="69663"/>
                      <a:pt x="4762" y="71438"/>
                    </a:cubicBezTo>
                    <a:cubicBezTo>
                      <a:pt x="8649" y="75325"/>
                      <a:pt x="24149" y="73819"/>
                      <a:pt x="26194" y="73819"/>
                    </a:cubicBezTo>
                  </a:path>
                </a:pathLst>
              </a:cu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115">
                <a:extLst>
                  <a:ext uri="{FF2B5EF4-FFF2-40B4-BE49-F238E27FC236}">
                    <a16:creationId xmlns:a16="http://schemas.microsoft.com/office/drawing/2014/main" id="{48450F95-5216-4573-A8D8-541CAE67EB47}"/>
                  </a:ext>
                </a:extLst>
              </p:cNvPr>
              <p:cNvSpPr/>
              <p:nvPr/>
            </p:nvSpPr>
            <p:spPr>
              <a:xfrm>
                <a:off x="7141278" y="2868906"/>
                <a:ext cx="33698" cy="26694"/>
              </a:xfrm>
              <a:custGeom>
                <a:avLst/>
                <a:gdLst>
                  <a:gd name="connsiteX0" fmla="*/ 9616 w 33698"/>
                  <a:gd name="connsiteY0" fmla="*/ 500 h 26694"/>
                  <a:gd name="connsiteX1" fmla="*/ 91 w 33698"/>
                  <a:gd name="connsiteY1" fmla="*/ 12407 h 26694"/>
                  <a:gd name="connsiteX2" fmla="*/ 4853 w 33698"/>
                  <a:gd name="connsiteY2" fmla="*/ 19550 h 26694"/>
                  <a:gd name="connsiteX3" fmla="*/ 19141 w 33698"/>
                  <a:gd name="connsiteY3" fmla="*/ 26694 h 26694"/>
                  <a:gd name="connsiteX4" fmla="*/ 21522 w 33698"/>
                  <a:gd name="connsiteY4" fmla="*/ 17169 h 26694"/>
                  <a:gd name="connsiteX5" fmla="*/ 33428 w 33698"/>
                  <a:gd name="connsiteY5" fmla="*/ 12407 h 26694"/>
                  <a:gd name="connsiteX6" fmla="*/ 28666 w 33698"/>
                  <a:gd name="connsiteY6" fmla="*/ 5263 h 26694"/>
                  <a:gd name="connsiteX7" fmla="*/ 9616 w 33698"/>
                  <a:gd name="connsiteY7" fmla="*/ 500 h 26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3698" h="26694">
                    <a:moveTo>
                      <a:pt x="9616" y="500"/>
                    </a:moveTo>
                    <a:cubicBezTo>
                      <a:pt x="4854" y="1691"/>
                      <a:pt x="1324" y="7476"/>
                      <a:pt x="91" y="12407"/>
                    </a:cubicBezTo>
                    <a:cubicBezTo>
                      <a:pt x="-603" y="15183"/>
                      <a:pt x="2830" y="17527"/>
                      <a:pt x="4853" y="19550"/>
                    </a:cubicBezTo>
                    <a:cubicBezTo>
                      <a:pt x="9470" y="24167"/>
                      <a:pt x="13329" y="24757"/>
                      <a:pt x="19141" y="26694"/>
                    </a:cubicBezTo>
                    <a:cubicBezTo>
                      <a:pt x="19935" y="23519"/>
                      <a:pt x="19208" y="19483"/>
                      <a:pt x="21522" y="17169"/>
                    </a:cubicBezTo>
                    <a:cubicBezTo>
                      <a:pt x="24544" y="14147"/>
                      <a:pt x="31229" y="16072"/>
                      <a:pt x="33428" y="12407"/>
                    </a:cubicBezTo>
                    <a:cubicBezTo>
                      <a:pt x="34900" y="9953"/>
                      <a:pt x="29946" y="7823"/>
                      <a:pt x="28666" y="5263"/>
                    </a:cubicBezTo>
                    <a:cubicBezTo>
                      <a:pt x="26034" y="-2"/>
                      <a:pt x="14378" y="-691"/>
                      <a:pt x="9616" y="500"/>
                    </a:cubicBezTo>
                    <a:close/>
                  </a:path>
                </a:pathLst>
              </a:custGeom>
              <a:noFill/>
              <a:ln>
                <a:solidFill>
                  <a:srgbClr val="FF8C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8" name="TextBox 109">
              <a:extLst>
                <a:ext uri="{FF2B5EF4-FFF2-40B4-BE49-F238E27FC236}">
                  <a16:creationId xmlns:a16="http://schemas.microsoft.com/office/drawing/2014/main" id="{FA01DA12-D9CE-49B3-BAEB-DE380F5D9658}"/>
                </a:ext>
              </a:extLst>
            </p:cNvPr>
            <p:cNvSpPr txBox="1"/>
            <p:nvPr/>
          </p:nvSpPr>
          <p:spPr>
            <a:xfrm>
              <a:off x="7578926" y="2821831"/>
              <a:ext cx="1143027" cy="246221"/>
            </a:xfrm>
            <a:prstGeom prst="rect">
              <a:avLst/>
            </a:prstGeom>
            <a:noFill/>
            <a:ln>
              <a:solidFill>
                <a:srgbClr val="FF8C00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000" b="1" dirty="0">
                  <a:solidFill>
                    <a:prstClr val="black"/>
                  </a:solidFill>
                  <a:latin typeface="Calibri"/>
                </a:rPr>
                <a:t>a:coolingValveCmd</a:t>
              </a:r>
              <a:endPara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endParaRPr>
            </a:p>
          </p:txBody>
        </p:sp>
      </p:grpSp>
      <p:sp>
        <p:nvSpPr>
          <p:cNvPr id="48" name="Pil: nedad 47">
            <a:extLst>
              <a:ext uri="{FF2B5EF4-FFF2-40B4-BE49-F238E27FC236}">
                <a16:creationId xmlns:a16="http://schemas.microsoft.com/office/drawing/2014/main" id="{AEAE4450-02B5-4FF0-8079-C3830E1ED577}"/>
              </a:ext>
            </a:extLst>
          </p:cNvPr>
          <p:cNvSpPr/>
          <p:nvPr/>
        </p:nvSpPr>
        <p:spPr>
          <a:xfrm>
            <a:off x="6485138" y="1807170"/>
            <a:ext cx="899639" cy="5220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9" name="Rektangel: afrundede hjørner 48">
            <a:extLst>
              <a:ext uri="{FF2B5EF4-FFF2-40B4-BE49-F238E27FC236}">
                <a16:creationId xmlns:a16="http://schemas.microsoft.com/office/drawing/2014/main" id="{19149817-CC43-46B5-ABD2-BB4B6558EAC1}"/>
              </a:ext>
            </a:extLst>
          </p:cNvPr>
          <p:cNvSpPr/>
          <p:nvPr/>
        </p:nvSpPr>
        <p:spPr>
          <a:xfrm>
            <a:off x="6228184" y="2491804"/>
            <a:ext cx="2592288" cy="1592114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Strategi optimering, fx </a:t>
            </a:r>
            <a:r>
              <a:rPr lang="da-DK" dirty="0" err="1"/>
              <a:t>setpunkter</a:t>
            </a:r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Alarmer, inkl. omkost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Visualisering</a:t>
            </a:r>
          </a:p>
        </p:txBody>
      </p:sp>
    </p:spTree>
    <p:extLst>
      <p:ext uri="{BB962C8B-B14F-4D97-AF65-F5344CB8AC3E}">
        <p14:creationId xmlns:p14="http://schemas.microsoft.com/office/powerpoint/2010/main" val="1842173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  <p:bldP spid="4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68845F13-C4BC-4148-B21A-5A4B2DB0ED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6308" y="257176"/>
            <a:ext cx="7598060" cy="1739714"/>
          </a:xfrm>
        </p:spPr>
        <p:txBody>
          <a:bodyPr/>
          <a:lstStyle/>
          <a:p>
            <a:r>
              <a:rPr lang="da-DK" dirty="0"/>
              <a:t>Algoritme bibliotek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9F9FE1E2-F592-4871-AE86-31BCBEF050BC}"/>
              </a:ext>
            </a:extLst>
          </p:cNvPr>
          <p:cNvSpPr txBox="1"/>
          <p:nvPr/>
        </p:nvSpPr>
        <p:spPr>
          <a:xfrm>
            <a:off x="395536" y="1127033"/>
            <a:ext cx="7128792" cy="3172909"/>
          </a:xfrm>
          <a:prstGeom prst="rect">
            <a:avLst/>
          </a:prstGeom>
          <a:noFill/>
        </p:spPr>
        <p:txBody>
          <a:bodyPr wrap="square" lIns="0" tIns="0" rIns="0" bIns="0" numCol="2" rtlCol="0">
            <a:noAutofit/>
          </a:bodyPr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Low Chilled Water Temp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High Chilled Water Temp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hilled Water Mixing 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imultaneous Heat/Cool 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High Supply Temperature 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Low Supply Temperature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High Supply Static Pressure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Low Supply Static Pressure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lectricity Usage 5% Less Than Last Year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lectricity Usage 5% More Than Last Year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ater Usage 5% Less Than Last Year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Water Usage 5% More Than Last Year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Heating Valve Open 100%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ooling Valve Open 100%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Low Outside Air Intake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High Outside Air Intake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Unscheduled Operation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rolonged 100% VAV Damper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lectric EUI Exceeds Month Target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lectric EUI Exceeds Yearly Target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hilled water usage minus 10% of last month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hilled water plus 10% of last month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hilled water usage minus 5% of last month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hilled water usage plus 5% of last month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on-conformance space temperature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Non-conformance space humidity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pace exhaust flow is high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pace supply flow is high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Low hot water temperature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High hot water temperature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Hot water mixing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ump not meeting setpoint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ump exceeding setpoint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pace differential pressure high or low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conomizer not running based on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temperatur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conomizer not running — enthalpy based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Damper open during warmup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Unscheduled operation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fan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da-DK" sz="10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" name="Rektangel: afrundede hjørner 4">
            <a:extLst>
              <a:ext uri="{FF2B5EF4-FFF2-40B4-BE49-F238E27FC236}">
                <a16:creationId xmlns:a16="http://schemas.microsoft.com/office/drawing/2014/main" id="{7E8C2134-1C46-4373-910B-BA7B95B1EA36}"/>
              </a:ext>
            </a:extLst>
          </p:cNvPr>
          <p:cNvSpPr/>
          <p:nvPr/>
        </p:nvSpPr>
        <p:spPr>
          <a:xfrm>
            <a:off x="6948264" y="598681"/>
            <a:ext cx="1908212" cy="1944216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 </a:t>
            </a:r>
            <a:r>
              <a:rPr kumimoji="0" lang="da-DK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gic</a:t>
            </a:r>
            <a:r>
              <a:rPr kumimoji="0" lang="da-DK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ocks</a:t>
            </a:r>
            <a:endParaRPr kumimoji="0" lang="da-DK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♦ Data Source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♦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ock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♦ Constant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ocks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♦ Filter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ocks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♦ General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ocks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♦ Math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ocks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♦ Switch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ocks</a:t>
            </a:r>
            <a:endParaRPr kumimoji="0" lang="da-DK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ktangel: afrundede hjørner 5">
            <a:extLst>
              <a:ext uri="{FF2B5EF4-FFF2-40B4-BE49-F238E27FC236}">
                <a16:creationId xmlns:a16="http://schemas.microsoft.com/office/drawing/2014/main" id="{28B72DA5-10ED-4425-8888-30F544E195C2}"/>
              </a:ext>
            </a:extLst>
          </p:cNvPr>
          <p:cNvSpPr/>
          <p:nvPr/>
        </p:nvSpPr>
        <p:spPr>
          <a:xfrm>
            <a:off x="6912260" y="2713487"/>
            <a:ext cx="1944216" cy="1944216"/>
          </a:xfrm>
          <a:prstGeom prst="round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ll-up and Aggregate by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erage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x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m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ad Factor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rst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st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an</a:t>
            </a:r>
          </a:p>
        </p:txBody>
      </p:sp>
    </p:spTree>
    <p:extLst>
      <p:ext uri="{BB962C8B-B14F-4D97-AF65-F5344CB8AC3E}">
        <p14:creationId xmlns:p14="http://schemas.microsoft.com/office/powerpoint/2010/main" val="20331517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31B67854-4959-4C74-98A9-8A474F7FAC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/>
              <a:t>Analytiske rapporter</a:t>
            </a:r>
          </a:p>
        </p:txBody>
      </p:sp>
      <p:pic>
        <p:nvPicPr>
          <p:cNvPr id="3" name="Picture 4">
            <a:extLst>
              <a:ext uri="{FF2B5EF4-FFF2-40B4-BE49-F238E27FC236}">
                <a16:creationId xmlns:a16="http://schemas.microsoft.com/office/drawing/2014/main" id="{C46C64F5-BAB7-4F24-978F-58886BB93ED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022" t="2376"/>
          <a:stretch/>
        </p:blipFill>
        <p:spPr>
          <a:xfrm>
            <a:off x="439117" y="843558"/>
            <a:ext cx="8265765" cy="360636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6462413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58C39518-DC03-4437-B0D6-7C221662C7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6308" y="257176"/>
            <a:ext cx="5941876" cy="1739714"/>
          </a:xfrm>
        </p:spPr>
        <p:txBody>
          <a:bodyPr/>
          <a:lstStyle/>
          <a:p>
            <a:r>
              <a:rPr lang="da-DK" dirty="0"/>
              <a:t>Brugerdefineret analyse</a:t>
            </a: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80DE5BD1-D733-46B3-9A52-100C514218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600" y="679243"/>
            <a:ext cx="6403926" cy="424067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2892780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Honeywell Internal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ster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81D58"/>
      </a:accent1>
      <a:accent2>
        <a:srgbClr val="EE1600"/>
      </a:accent2>
      <a:accent3>
        <a:srgbClr val="FFFFFF"/>
      </a:accent3>
      <a:accent4>
        <a:srgbClr val="000000"/>
      </a:accent4>
      <a:accent5>
        <a:srgbClr val="AAABB4"/>
      </a:accent5>
      <a:accent6>
        <a:srgbClr val="D81300"/>
      </a:accent6>
      <a:hlink>
        <a:srgbClr val="00FFFF"/>
      </a:hlink>
      <a:folHlink>
        <a:srgbClr val="C0C0C0"/>
      </a:folHlink>
    </a:clrScheme>
    <a:fontScheme name="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Honeywell Theme">
  <a:themeElements>
    <a:clrScheme name="Benutzerdefiniert 9">
      <a:dk1>
        <a:srgbClr val="777777"/>
      </a:dk1>
      <a:lt1>
        <a:srgbClr val="FFFFFF"/>
      </a:lt1>
      <a:dk2>
        <a:srgbClr val="009355"/>
      </a:dk2>
      <a:lt2>
        <a:srgbClr val="000000"/>
      </a:lt2>
      <a:accent1>
        <a:srgbClr val="E1E000"/>
      </a:accent1>
      <a:accent2>
        <a:srgbClr val="FFFFFF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432FF"/>
      </a:hlink>
      <a:folHlink>
        <a:srgbClr val="93209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spAutoFit/>
      </a:bodyPr>
      <a:lstStyle>
        <a:defPPr algn="ctr">
          <a:defRPr dirty="0" smtClean="0">
            <a:solidFill>
              <a:schemeClr val="accent3"/>
            </a:solidFill>
          </a:defRPr>
        </a:defPPr>
      </a:lstStyle>
      <a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a:style>
    </a:spDef>
    <a:lnDef>
      <a:spPr>
        <a:ln w="12700" cmpd="sng">
          <a:solidFill>
            <a:schemeClr val="bg1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E33D33BA-FFFA-4345-94C9-97B6EAB46E48}" vid="{E00C0D2E-2C35-49DC-9A0C-E32771949CF1}"/>
    </a:ext>
  </a:extLst>
</a:theme>
</file>

<file path=ppt/theme/theme4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FF7800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F90FC90BB7BFB44BE44FFD3800E4C30" ma:contentTypeVersion="3" ma:contentTypeDescription="Opret et nyt dokument." ma:contentTypeScope="" ma:versionID="fb0657d76e80c65cdc2a34023efe0d9c">
  <xsd:schema xmlns:xsd="http://www.w3.org/2001/XMLSchema" xmlns:xs="http://www.w3.org/2001/XMLSchema" xmlns:p="http://schemas.microsoft.com/office/2006/metadata/properties" xmlns:ns2="13886c1b-f4a5-4a74-b945-e97f5516d92d" targetNamespace="http://schemas.microsoft.com/office/2006/metadata/properties" ma:root="true" ma:fieldsID="62e259dcfce4b47a67e9893f6e06be9d" ns2:_="">
    <xsd:import namespace="13886c1b-f4a5-4a74-b945-e97f5516d9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886c1b-f4a5-4a74-b945-e97f5516d9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5E2727BB-5508-4185-9281-6CB22C23332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D39C656-E1C9-4DC5-9791-A5E8C8F5E265}"/>
</file>

<file path=customXml/itemProps3.xml><?xml version="1.0" encoding="utf-8"?>
<ds:datastoreItem xmlns:ds="http://schemas.openxmlformats.org/officeDocument/2006/customXml" ds:itemID="{DABF5670-F971-4927-AD89-9D18682933B6}">
  <ds:schemaRefs>
    <ds:schemaRef ds:uri="http://purl.org/dc/terms/"/>
    <ds:schemaRef ds:uri="http://purl.org/dc/dcmitype/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c978bf51-1897-42e7-b738-03e9fe6391b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16</TotalTime>
  <Words>561</Words>
  <Application>Microsoft Office PowerPoint</Application>
  <PresentationFormat>Skærmshow (16:9)</PresentationFormat>
  <Paragraphs>160</Paragraphs>
  <Slides>16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0</vt:i4>
      </vt:variant>
      <vt:variant>
        <vt:lpstr>Tema</vt:lpstr>
      </vt:variant>
      <vt:variant>
        <vt:i4>5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6</vt:i4>
      </vt:variant>
    </vt:vector>
  </HeadingPairs>
  <TitlesOfParts>
    <vt:vector size="32" baseType="lpstr">
      <vt:lpstr>-apple-system</vt:lpstr>
      <vt:lpstr>Arial</vt:lpstr>
      <vt:lpstr>Arial Black</vt:lpstr>
      <vt:lpstr>Calibri</vt:lpstr>
      <vt:lpstr>Helvetica Neue</vt:lpstr>
      <vt:lpstr>HelveticaNeue MediumCond</vt:lpstr>
      <vt:lpstr>Honeywell Sans TT</vt:lpstr>
      <vt:lpstr>Honeywell Sans TT Black</vt:lpstr>
      <vt:lpstr>Lucida Grande</vt:lpstr>
      <vt:lpstr>Wingdings</vt:lpstr>
      <vt:lpstr>Office Theme</vt:lpstr>
      <vt:lpstr>master</vt:lpstr>
      <vt:lpstr>2_Honeywell Theme</vt:lpstr>
      <vt:lpstr>1_Office Theme</vt:lpstr>
      <vt:lpstr>Custom Design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Markhovski, Georg</dc:creator>
  <cp:lastModifiedBy>Markhovski, Georg</cp:lastModifiedBy>
  <cp:revision>5</cp:revision>
  <dcterms:created xsi:type="dcterms:W3CDTF">2021-02-18T17:00:06Z</dcterms:created>
  <dcterms:modified xsi:type="dcterms:W3CDTF">2021-03-09T12:5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546e5e1-5d42-4630-bacd-c69bfdcbd5e8_Enabled">
    <vt:lpwstr>true</vt:lpwstr>
  </property>
  <property fmtid="{D5CDD505-2E9C-101B-9397-08002B2CF9AE}" pid="3" name="MSIP_Label_d546e5e1-5d42-4630-bacd-c69bfdcbd5e8_SetDate">
    <vt:lpwstr>2021-03-03T11:04:50Z</vt:lpwstr>
  </property>
  <property fmtid="{D5CDD505-2E9C-101B-9397-08002B2CF9AE}" pid="4" name="MSIP_Label_d546e5e1-5d42-4630-bacd-c69bfdcbd5e8_Method">
    <vt:lpwstr>Standard</vt:lpwstr>
  </property>
  <property fmtid="{D5CDD505-2E9C-101B-9397-08002B2CF9AE}" pid="5" name="MSIP_Label_d546e5e1-5d42-4630-bacd-c69bfdcbd5e8_Name">
    <vt:lpwstr>d546e5e1-5d42-4630-bacd-c69bfdcbd5e8</vt:lpwstr>
  </property>
  <property fmtid="{D5CDD505-2E9C-101B-9397-08002B2CF9AE}" pid="6" name="MSIP_Label_d546e5e1-5d42-4630-bacd-c69bfdcbd5e8_SiteId">
    <vt:lpwstr>96ece526-9c7d-48b0-8daf-8b93c90a5d18</vt:lpwstr>
  </property>
  <property fmtid="{D5CDD505-2E9C-101B-9397-08002B2CF9AE}" pid="7" name="MSIP_Label_d546e5e1-5d42-4630-bacd-c69bfdcbd5e8_ActionId">
    <vt:lpwstr>ec683e91-d88e-4597-8f2a-9b0c93680410</vt:lpwstr>
  </property>
  <property fmtid="{D5CDD505-2E9C-101B-9397-08002B2CF9AE}" pid="8" name="MSIP_Label_d546e5e1-5d42-4630-bacd-c69bfdcbd5e8_ContentBits">
    <vt:lpwstr>0</vt:lpwstr>
  </property>
  <property fmtid="{D5CDD505-2E9C-101B-9397-08002B2CF9AE}" pid="9" name="SmartTag">
    <vt:lpwstr>4</vt:lpwstr>
  </property>
  <property fmtid="{D5CDD505-2E9C-101B-9397-08002B2CF9AE}" pid="10" name="ContentTypeId">
    <vt:lpwstr>0x010100EF90FC90BB7BFB44BE44FFD3800E4C30</vt:lpwstr>
  </property>
</Properties>
</file>